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4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2D1284-BFCC-C57F-986B-B54A786FD8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484CE127-39A9-275E-F3B0-93B781FCFD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4CE127-39A9-275E-F3B0-93B781FCFD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4D2F39B-6B0D-A103-44E9-C1A7A91CD9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D2CC25-EB16-04B0-EF87-1EC6D4F85F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EF99F88-C871-EFD9-5E80-8B0D79AC4256}"/>
              </a:ext>
            </a:extLst>
          </p:cNvPr>
          <p:cNvGrpSpPr/>
          <p:nvPr/>
        </p:nvGrpSpPr>
        <p:grpSpPr>
          <a:xfrm>
            <a:off x="3356976" y="1157469"/>
            <a:ext cx="5478048" cy="5300814"/>
            <a:chOff x="3126000" y="755754"/>
            <a:chExt cx="5940000" cy="5747821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84EE4075-84D5-B213-8B1B-2053DE20D8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5079" y="755754"/>
              <a:ext cx="3185264" cy="3083111"/>
            </a:xfrm>
            <a:custGeom>
              <a:avLst/>
              <a:gdLst>
                <a:gd name="T0" fmla="*/ 1684 w 2058"/>
                <a:gd name="T1" fmla="*/ 1208 h 1992"/>
                <a:gd name="T2" fmla="*/ 1550 w 2058"/>
                <a:gd name="T3" fmla="*/ 1072 h 1992"/>
                <a:gd name="T4" fmla="*/ 1388 w 2058"/>
                <a:gd name="T5" fmla="*/ 968 h 1992"/>
                <a:gd name="T6" fmla="*/ 1206 w 2058"/>
                <a:gd name="T7" fmla="*/ 900 h 1992"/>
                <a:gd name="T8" fmla="*/ 1006 w 2058"/>
                <a:gd name="T9" fmla="*/ 878 h 1992"/>
                <a:gd name="T10" fmla="*/ 874 w 2058"/>
                <a:gd name="T11" fmla="*/ 888 h 1992"/>
                <a:gd name="T12" fmla="*/ 710 w 2058"/>
                <a:gd name="T13" fmla="*/ 930 h 1992"/>
                <a:gd name="T14" fmla="*/ 560 w 2058"/>
                <a:gd name="T15" fmla="*/ 1002 h 1992"/>
                <a:gd name="T16" fmla="*/ 426 w 2058"/>
                <a:gd name="T17" fmla="*/ 1102 h 1992"/>
                <a:gd name="T18" fmla="*/ 316 w 2058"/>
                <a:gd name="T19" fmla="*/ 1224 h 1992"/>
                <a:gd name="T20" fmla="*/ 230 w 2058"/>
                <a:gd name="T21" fmla="*/ 1366 h 1992"/>
                <a:gd name="T22" fmla="*/ 172 w 2058"/>
                <a:gd name="T23" fmla="*/ 1524 h 1992"/>
                <a:gd name="T24" fmla="*/ 146 w 2058"/>
                <a:gd name="T25" fmla="*/ 1694 h 1992"/>
                <a:gd name="T26" fmla="*/ 146 w 2058"/>
                <a:gd name="T27" fmla="*/ 1804 h 1992"/>
                <a:gd name="T28" fmla="*/ 182 w 2058"/>
                <a:gd name="T29" fmla="*/ 1992 h 1992"/>
                <a:gd name="T30" fmla="*/ 124 w 2058"/>
                <a:gd name="T31" fmla="*/ 1906 h 1992"/>
                <a:gd name="T32" fmla="*/ 60 w 2058"/>
                <a:gd name="T33" fmla="*/ 1780 h 1992"/>
                <a:gd name="T34" fmla="*/ 18 w 2058"/>
                <a:gd name="T35" fmla="*/ 1644 h 1992"/>
                <a:gd name="T36" fmla="*/ 0 w 2058"/>
                <a:gd name="T37" fmla="*/ 1498 h 1992"/>
                <a:gd name="T38" fmla="*/ 4 w 2058"/>
                <a:gd name="T39" fmla="*/ 1378 h 1992"/>
                <a:gd name="T40" fmla="*/ 34 w 2058"/>
                <a:gd name="T41" fmla="*/ 1216 h 1992"/>
                <a:gd name="T42" fmla="*/ 94 w 2058"/>
                <a:gd name="T43" fmla="*/ 1068 h 1992"/>
                <a:gd name="T44" fmla="*/ 180 w 2058"/>
                <a:gd name="T45" fmla="*/ 934 h 1992"/>
                <a:gd name="T46" fmla="*/ 288 w 2058"/>
                <a:gd name="T47" fmla="*/ 818 h 1992"/>
                <a:gd name="T48" fmla="*/ 416 w 2058"/>
                <a:gd name="T49" fmla="*/ 724 h 1992"/>
                <a:gd name="T50" fmla="*/ 558 w 2058"/>
                <a:gd name="T51" fmla="*/ 654 h 1992"/>
                <a:gd name="T52" fmla="*/ 716 w 2058"/>
                <a:gd name="T53" fmla="*/ 612 h 1992"/>
                <a:gd name="T54" fmla="*/ 800 w 2058"/>
                <a:gd name="T55" fmla="*/ 572 h 1992"/>
                <a:gd name="T56" fmla="*/ 824 w 2058"/>
                <a:gd name="T57" fmla="*/ 452 h 1992"/>
                <a:gd name="T58" fmla="*/ 868 w 2058"/>
                <a:gd name="T59" fmla="*/ 340 h 1992"/>
                <a:gd name="T60" fmla="*/ 932 w 2058"/>
                <a:gd name="T61" fmla="*/ 242 h 1992"/>
                <a:gd name="T62" fmla="*/ 1014 w 2058"/>
                <a:gd name="T63" fmla="*/ 156 h 1992"/>
                <a:gd name="T64" fmla="*/ 1108 w 2058"/>
                <a:gd name="T65" fmla="*/ 86 h 1992"/>
                <a:gd name="T66" fmla="*/ 1216 w 2058"/>
                <a:gd name="T67" fmla="*/ 36 h 1992"/>
                <a:gd name="T68" fmla="*/ 1334 w 2058"/>
                <a:gd name="T69" fmla="*/ 6 h 1992"/>
                <a:gd name="T70" fmla="*/ 1428 w 2058"/>
                <a:gd name="T71" fmla="*/ 0 h 1992"/>
                <a:gd name="T72" fmla="*/ 1554 w 2058"/>
                <a:gd name="T73" fmla="*/ 12 h 1992"/>
                <a:gd name="T74" fmla="*/ 1674 w 2058"/>
                <a:gd name="T75" fmla="*/ 50 h 1992"/>
                <a:gd name="T76" fmla="*/ 1780 w 2058"/>
                <a:gd name="T77" fmla="*/ 108 h 1992"/>
                <a:gd name="T78" fmla="*/ 1874 w 2058"/>
                <a:gd name="T79" fmla="*/ 184 h 1992"/>
                <a:gd name="T80" fmla="*/ 1950 w 2058"/>
                <a:gd name="T81" fmla="*/ 278 h 1992"/>
                <a:gd name="T82" fmla="*/ 2008 w 2058"/>
                <a:gd name="T83" fmla="*/ 384 h 1992"/>
                <a:gd name="T84" fmla="*/ 2046 w 2058"/>
                <a:gd name="T85" fmla="*/ 504 h 1992"/>
                <a:gd name="T86" fmla="*/ 2058 w 2058"/>
                <a:gd name="T87" fmla="*/ 630 h 1992"/>
                <a:gd name="T88" fmla="*/ 2042 w 2058"/>
                <a:gd name="T89" fmla="*/ 770 h 1992"/>
                <a:gd name="T90" fmla="*/ 1976 w 2058"/>
                <a:gd name="T91" fmla="*/ 940 h 1992"/>
                <a:gd name="T92" fmla="*/ 1868 w 2058"/>
                <a:gd name="T93" fmla="*/ 1082 h 1992"/>
                <a:gd name="T94" fmla="*/ 1724 w 2058"/>
                <a:gd name="T95" fmla="*/ 1186 h 1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8" h="1992">
                  <a:moveTo>
                    <a:pt x="1684" y="1206"/>
                  </a:moveTo>
                  <a:lnTo>
                    <a:pt x="1684" y="1206"/>
                  </a:lnTo>
                  <a:lnTo>
                    <a:pt x="1684" y="1208"/>
                  </a:lnTo>
                  <a:lnTo>
                    <a:pt x="1684" y="1208"/>
                  </a:lnTo>
                  <a:lnTo>
                    <a:pt x="1652" y="1170"/>
                  </a:lnTo>
                  <a:lnTo>
                    <a:pt x="1620" y="1136"/>
                  </a:lnTo>
                  <a:lnTo>
                    <a:pt x="1586" y="1102"/>
                  </a:lnTo>
                  <a:lnTo>
                    <a:pt x="1550" y="1072"/>
                  </a:lnTo>
                  <a:lnTo>
                    <a:pt x="1512" y="1042"/>
                  </a:lnTo>
                  <a:lnTo>
                    <a:pt x="1472" y="1014"/>
                  </a:lnTo>
                  <a:lnTo>
                    <a:pt x="1432" y="990"/>
                  </a:lnTo>
                  <a:lnTo>
                    <a:pt x="1388" y="968"/>
                  </a:lnTo>
                  <a:lnTo>
                    <a:pt x="1344" y="946"/>
                  </a:lnTo>
                  <a:lnTo>
                    <a:pt x="1300" y="930"/>
                  </a:lnTo>
                  <a:lnTo>
                    <a:pt x="1252" y="914"/>
                  </a:lnTo>
                  <a:lnTo>
                    <a:pt x="1206" y="900"/>
                  </a:lnTo>
                  <a:lnTo>
                    <a:pt x="1156" y="890"/>
                  </a:lnTo>
                  <a:lnTo>
                    <a:pt x="1108" y="884"/>
                  </a:lnTo>
                  <a:lnTo>
                    <a:pt x="1056" y="880"/>
                  </a:lnTo>
                  <a:lnTo>
                    <a:pt x="1006" y="878"/>
                  </a:lnTo>
                  <a:lnTo>
                    <a:pt x="1006" y="878"/>
                  </a:lnTo>
                  <a:lnTo>
                    <a:pt x="962" y="878"/>
                  </a:lnTo>
                  <a:lnTo>
                    <a:pt x="918" y="882"/>
                  </a:lnTo>
                  <a:lnTo>
                    <a:pt x="874" y="888"/>
                  </a:lnTo>
                  <a:lnTo>
                    <a:pt x="832" y="896"/>
                  </a:lnTo>
                  <a:lnTo>
                    <a:pt x="790" y="904"/>
                  </a:lnTo>
                  <a:lnTo>
                    <a:pt x="750" y="916"/>
                  </a:lnTo>
                  <a:lnTo>
                    <a:pt x="710" y="930"/>
                  </a:lnTo>
                  <a:lnTo>
                    <a:pt x="670" y="946"/>
                  </a:lnTo>
                  <a:lnTo>
                    <a:pt x="632" y="962"/>
                  </a:lnTo>
                  <a:lnTo>
                    <a:pt x="596" y="982"/>
                  </a:lnTo>
                  <a:lnTo>
                    <a:pt x="560" y="1002"/>
                  </a:lnTo>
                  <a:lnTo>
                    <a:pt x="524" y="1024"/>
                  </a:lnTo>
                  <a:lnTo>
                    <a:pt x="490" y="1048"/>
                  </a:lnTo>
                  <a:lnTo>
                    <a:pt x="458" y="1074"/>
                  </a:lnTo>
                  <a:lnTo>
                    <a:pt x="426" y="1102"/>
                  </a:lnTo>
                  <a:lnTo>
                    <a:pt x="396" y="1130"/>
                  </a:lnTo>
                  <a:lnTo>
                    <a:pt x="368" y="1160"/>
                  </a:lnTo>
                  <a:lnTo>
                    <a:pt x="342" y="1190"/>
                  </a:lnTo>
                  <a:lnTo>
                    <a:pt x="316" y="1224"/>
                  </a:lnTo>
                  <a:lnTo>
                    <a:pt x="292" y="1258"/>
                  </a:lnTo>
                  <a:lnTo>
                    <a:pt x="270" y="1292"/>
                  </a:lnTo>
                  <a:lnTo>
                    <a:pt x="248" y="1328"/>
                  </a:lnTo>
                  <a:lnTo>
                    <a:pt x="230" y="1366"/>
                  </a:lnTo>
                  <a:lnTo>
                    <a:pt x="212" y="1404"/>
                  </a:lnTo>
                  <a:lnTo>
                    <a:pt x="196" y="1442"/>
                  </a:lnTo>
                  <a:lnTo>
                    <a:pt x="184" y="1482"/>
                  </a:lnTo>
                  <a:lnTo>
                    <a:pt x="172" y="1524"/>
                  </a:lnTo>
                  <a:lnTo>
                    <a:pt x="162" y="1566"/>
                  </a:lnTo>
                  <a:lnTo>
                    <a:pt x="154" y="1608"/>
                  </a:lnTo>
                  <a:lnTo>
                    <a:pt x="148" y="1650"/>
                  </a:lnTo>
                  <a:lnTo>
                    <a:pt x="146" y="1694"/>
                  </a:lnTo>
                  <a:lnTo>
                    <a:pt x="144" y="1738"/>
                  </a:lnTo>
                  <a:lnTo>
                    <a:pt x="144" y="1738"/>
                  </a:lnTo>
                  <a:lnTo>
                    <a:pt x="146" y="1772"/>
                  </a:lnTo>
                  <a:lnTo>
                    <a:pt x="146" y="1804"/>
                  </a:lnTo>
                  <a:lnTo>
                    <a:pt x="150" y="1836"/>
                  </a:lnTo>
                  <a:lnTo>
                    <a:pt x="154" y="1868"/>
                  </a:lnTo>
                  <a:lnTo>
                    <a:pt x="166" y="1932"/>
                  </a:lnTo>
                  <a:lnTo>
                    <a:pt x="182" y="1992"/>
                  </a:lnTo>
                  <a:lnTo>
                    <a:pt x="182" y="1992"/>
                  </a:lnTo>
                  <a:lnTo>
                    <a:pt x="162" y="1964"/>
                  </a:lnTo>
                  <a:lnTo>
                    <a:pt x="142" y="1936"/>
                  </a:lnTo>
                  <a:lnTo>
                    <a:pt x="124" y="1906"/>
                  </a:lnTo>
                  <a:lnTo>
                    <a:pt x="106" y="1876"/>
                  </a:lnTo>
                  <a:lnTo>
                    <a:pt x="90" y="1844"/>
                  </a:lnTo>
                  <a:lnTo>
                    <a:pt x="74" y="1814"/>
                  </a:lnTo>
                  <a:lnTo>
                    <a:pt x="60" y="1780"/>
                  </a:lnTo>
                  <a:lnTo>
                    <a:pt x="48" y="1748"/>
                  </a:lnTo>
                  <a:lnTo>
                    <a:pt x="36" y="1714"/>
                  </a:lnTo>
                  <a:lnTo>
                    <a:pt x="28" y="1680"/>
                  </a:lnTo>
                  <a:lnTo>
                    <a:pt x="18" y="1644"/>
                  </a:lnTo>
                  <a:lnTo>
                    <a:pt x="12" y="1608"/>
                  </a:lnTo>
                  <a:lnTo>
                    <a:pt x="6" y="1572"/>
                  </a:lnTo>
                  <a:lnTo>
                    <a:pt x="2" y="1536"/>
                  </a:lnTo>
                  <a:lnTo>
                    <a:pt x="0" y="1498"/>
                  </a:lnTo>
                  <a:lnTo>
                    <a:pt x="0" y="1462"/>
                  </a:lnTo>
                  <a:lnTo>
                    <a:pt x="0" y="1462"/>
                  </a:lnTo>
                  <a:lnTo>
                    <a:pt x="0" y="1420"/>
                  </a:lnTo>
                  <a:lnTo>
                    <a:pt x="4" y="1378"/>
                  </a:lnTo>
                  <a:lnTo>
                    <a:pt x="8" y="1336"/>
                  </a:lnTo>
                  <a:lnTo>
                    <a:pt x="16" y="1296"/>
                  </a:lnTo>
                  <a:lnTo>
                    <a:pt x="24" y="1256"/>
                  </a:lnTo>
                  <a:lnTo>
                    <a:pt x="34" y="1216"/>
                  </a:lnTo>
                  <a:lnTo>
                    <a:pt x="48" y="1178"/>
                  </a:lnTo>
                  <a:lnTo>
                    <a:pt x="62" y="1140"/>
                  </a:lnTo>
                  <a:lnTo>
                    <a:pt x="78" y="1104"/>
                  </a:lnTo>
                  <a:lnTo>
                    <a:pt x="94" y="1068"/>
                  </a:lnTo>
                  <a:lnTo>
                    <a:pt x="114" y="1032"/>
                  </a:lnTo>
                  <a:lnTo>
                    <a:pt x="134" y="998"/>
                  </a:lnTo>
                  <a:lnTo>
                    <a:pt x="156" y="966"/>
                  </a:lnTo>
                  <a:lnTo>
                    <a:pt x="180" y="934"/>
                  </a:lnTo>
                  <a:lnTo>
                    <a:pt x="206" y="902"/>
                  </a:lnTo>
                  <a:lnTo>
                    <a:pt x="232" y="874"/>
                  </a:lnTo>
                  <a:lnTo>
                    <a:pt x="260" y="846"/>
                  </a:lnTo>
                  <a:lnTo>
                    <a:pt x="288" y="818"/>
                  </a:lnTo>
                  <a:lnTo>
                    <a:pt x="318" y="792"/>
                  </a:lnTo>
                  <a:lnTo>
                    <a:pt x="350" y="768"/>
                  </a:lnTo>
                  <a:lnTo>
                    <a:pt x="382" y="746"/>
                  </a:lnTo>
                  <a:lnTo>
                    <a:pt x="416" y="724"/>
                  </a:lnTo>
                  <a:lnTo>
                    <a:pt x="450" y="704"/>
                  </a:lnTo>
                  <a:lnTo>
                    <a:pt x="486" y="686"/>
                  </a:lnTo>
                  <a:lnTo>
                    <a:pt x="522" y="670"/>
                  </a:lnTo>
                  <a:lnTo>
                    <a:pt x="558" y="654"/>
                  </a:lnTo>
                  <a:lnTo>
                    <a:pt x="596" y="642"/>
                  </a:lnTo>
                  <a:lnTo>
                    <a:pt x="636" y="630"/>
                  </a:lnTo>
                  <a:lnTo>
                    <a:pt x="676" y="620"/>
                  </a:lnTo>
                  <a:lnTo>
                    <a:pt x="716" y="612"/>
                  </a:lnTo>
                  <a:lnTo>
                    <a:pt x="756" y="606"/>
                  </a:lnTo>
                  <a:lnTo>
                    <a:pt x="798" y="602"/>
                  </a:lnTo>
                  <a:lnTo>
                    <a:pt x="798" y="602"/>
                  </a:lnTo>
                  <a:lnTo>
                    <a:pt x="800" y="572"/>
                  </a:lnTo>
                  <a:lnTo>
                    <a:pt x="804" y="540"/>
                  </a:lnTo>
                  <a:lnTo>
                    <a:pt x="810" y="510"/>
                  </a:lnTo>
                  <a:lnTo>
                    <a:pt x="816" y="480"/>
                  </a:lnTo>
                  <a:lnTo>
                    <a:pt x="824" y="452"/>
                  </a:lnTo>
                  <a:lnTo>
                    <a:pt x="832" y="422"/>
                  </a:lnTo>
                  <a:lnTo>
                    <a:pt x="844" y="394"/>
                  </a:lnTo>
                  <a:lnTo>
                    <a:pt x="856" y="368"/>
                  </a:lnTo>
                  <a:lnTo>
                    <a:pt x="868" y="340"/>
                  </a:lnTo>
                  <a:lnTo>
                    <a:pt x="882" y="314"/>
                  </a:lnTo>
                  <a:lnTo>
                    <a:pt x="898" y="290"/>
                  </a:lnTo>
                  <a:lnTo>
                    <a:pt x="914" y="264"/>
                  </a:lnTo>
                  <a:lnTo>
                    <a:pt x="932" y="242"/>
                  </a:lnTo>
                  <a:lnTo>
                    <a:pt x="952" y="218"/>
                  </a:lnTo>
                  <a:lnTo>
                    <a:pt x="970" y="196"/>
                  </a:lnTo>
                  <a:lnTo>
                    <a:pt x="992" y="176"/>
                  </a:lnTo>
                  <a:lnTo>
                    <a:pt x="1014" y="156"/>
                  </a:lnTo>
                  <a:lnTo>
                    <a:pt x="1036" y="136"/>
                  </a:lnTo>
                  <a:lnTo>
                    <a:pt x="1060" y="120"/>
                  </a:lnTo>
                  <a:lnTo>
                    <a:pt x="1084" y="102"/>
                  </a:lnTo>
                  <a:lnTo>
                    <a:pt x="1108" y="86"/>
                  </a:lnTo>
                  <a:lnTo>
                    <a:pt x="1134" y="72"/>
                  </a:lnTo>
                  <a:lnTo>
                    <a:pt x="1162" y="60"/>
                  </a:lnTo>
                  <a:lnTo>
                    <a:pt x="1188" y="48"/>
                  </a:lnTo>
                  <a:lnTo>
                    <a:pt x="1216" y="36"/>
                  </a:lnTo>
                  <a:lnTo>
                    <a:pt x="1246" y="26"/>
                  </a:lnTo>
                  <a:lnTo>
                    <a:pt x="1274" y="18"/>
                  </a:lnTo>
                  <a:lnTo>
                    <a:pt x="1304" y="12"/>
                  </a:lnTo>
                  <a:lnTo>
                    <a:pt x="1334" y="6"/>
                  </a:lnTo>
                  <a:lnTo>
                    <a:pt x="1366" y="4"/>
                  </a:lnTo>
                  <a:lnTo>
                    <a:pt x="1396" y="0"/>
                  </a:lnTo>
                  <a:lnTo>
                    <a:pt x="1428" y="0"/>
                  </a:lnTo>
                  <a:lnTo>
                    <a:pt x="1428" y="0"/>
                  </a:lnTo>
                  <a:lnTo>
                    <a:pt x="1460" y="0"/>
                  </a:lnTo>
                  <a:lnTo>
                    <a:pt x="1492" y="4"/>
                  </a:lnTo>
                  <a:lnTo>
                    <a:pt x="1524" y="8"/>
                  </a:lnTo>
                  <a:lnTo>
                    <a:pt x="1554" y="12"/>
                  </a:lnTo>
                  <a:lnTo>
                    <a:pt x="1586" y="20"/>
                  </a:lnTo>
                  <a:lnTo>
                    <a:pt x="1616" y="28"/>
                  </a:lnTo>
                  <a:lnTo>
                    <a:pt x="1644" y="38"/>
                  </a:lnTo>
                  <a:lnTo>
                    <a:pt x="1674" y="50"/>
                  </a:lnTo>
                  <a:lnTo>
                    <a:pt x="1702" y="62"/>
                  </a:lnTo>
                  <a:lnTo>
                    <a:pt x="1728" y="76"/>
                  </a:lnTo>
                  <a:lnTo>
                    <a:pt x="1754" y="92"/>
                  </a:lnTo>
                  <a:lnTo>
                    <a:pt x="1780" y="108"/>
                  </a:lnTo>
                  <a:lnTo>
                    <a:pt x="1804" y="126"/>
                  </a:lnTo>
                  <a:lnTo>
                    <a:pt x="1828" y="144"/>
                  </a:lnTo>
                  <a:lnTo>
                    <a:pt x="1852" y="164"/>
                  </a:lnTo>
                  <a:lnTo>
                    <a:pt x="1874" y="184"/>
                  </a:lnTo>
                  <a:lnTo>
                    <a:pt x="1894" y="206"/>
                  </a:lnTo>
                  <a:lnTo>
                    <a:pt x="1914" y="230"/>
                  </a:lnTo>
                  <a:lnTo>
                    <a:pt x="1932" y="254"/>
                  </a:lnTo>
                  <a:lnTo>
                    <a:pt x="1950" y="278"/>
                  </a:lnTo>
                  <a:lnTo>
                    <a:pt x="1966" y="304"/>
                  </a:lnTo>
                  <a:lnTo>
                    <a:pt x="1982" y="330"/>
                  </a:lnTo>
                  <a:lnTo>
                    <a:pt x="1996" y="356"/>
                  </a:lnTo>
                  <a:lnTo>
                    <a:pt x="2008" y="384"/>
                  </a:lnTo>
                  <a:lnTo>
                    <a:pt x="2020" y="414"/>
                  </a:lnTo>
                  <a:lnTo>
                    <a:pt x="2030" y="442"/>
                  </a:lnTo>
                  <a:lnTo>
                    <a:pt x="2038" y="472"/>
                  </a:lnTo>
                  <a:lnTo>
                    <a:pt x="2046" y="504"/>
                  </a:lnTo>
                  <a:lnTo>
                    <a:pt x="2050" y="534"/>
                  </a:lnTo>
                  <a:lnTo>
                    <a:pt x="2054" y="566"/>
                  </a:lnTo>
                  <a:lnTo>
                    <a:pt x="2058" y="598"/>
                  </a:lnTo>
                  <a:lnTo>
                    <a:pt x="2058" y="630"/>
                  </a:lnTo>
                  <a:lnTo>
                    <a:pt x="2058" y="630"/>
                  </a:lnTo>
                  <a:lnTo>
                    <a:pt x="2056" y="678"/>
                  </a:lnTo>
                  <a:lnTo>
                    <a:pt x="2050" y="724"/>
                  </a:lnTo>
                  <a:lnTo>
                    <a:pt x="2042" y="770"/>
                  </a:lnTo>
                  <a:lnTo>
                    <a:pt x="2030" y="814"/>
                  </a:lnTo>
                  <a:lnTo>
                    <a:pt x="2016" y="858"/>
                  </a:lnTo>
                  <a:lnTo>
                    <a:pt x="1998" y="900"/>
                  </a:lnTo>
                  <a:lnTo>
                    <a:pt x="1976" y="940"/>
                  </a:lnTo>
                  <a:lnTo>
                    <a:pt x="1954" y="978"/>
                  </a:lnTo>
                  <a:lnTo>
                    <a:pt x="1928" y="1014"/>
                  </a:lnTo>
                  <a:lnTo>
                    <a:pt x="1898" y="1048"/>
                  </a:lnTo>
                  <a:lnTo>
                    <a:pt x="1868" y="1082"/>
                  </a:lnTo>
                  <a:lnTo>
                    <a:pt x="1834" y="1112"/>
                  </a:lnTo>
                  <a:lnTo>
                    <a:pt x="1800" y="1138"/>
                  </a:lnTo>
                  <a:lnTo>
                    <a:pt x="1762" y="1164"/>
                  </a:lnTo>
                  <a:lnTo>
                    <a:pt x="1724" y="1186"/>
                  </a:lnTo>
                  <a:lnTo>
                    <a:pt x="1684" y="1206"/>
                  </a:lnTo>
                  <a:lnTo>
                    <a:pt x="1684" y="120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540D5431-23AC-9336-DCE7-62054832F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703" y="2217990"/>
              <a:ext cx="3575297" cy="2748798"/>
            </a:xfrm>
            <a:custGeom>
              <a:avLst/>
              <a:gdLst>
                <a:gd name="T0" fmla="*/ 1782 w 2310"/>
                <a:gd name="T1" fmla="*/ 1766 h 1776"/>
                <a:gd name="T2" fmla="*/ 1600 w 2310"/>
                <a:gd name="T3" fmla="*/ 1770 h 1776"/>
                <a:gd name="T4" fmla="*/ 1428 w 2310"/>
                <a:gd name="T5" fmla="*/ 1722 h 1776"/>
                <a:gd name="T6" fmla="*/ 1276 w 2310"/>
                <a:gd name="T7" fmla="*/ 1628 h 1776"/>
                <a:gd name="T8" fmla="*/ 1210 w 2310"/>
                <a:gd name="T9" fmla="*/ 1566 h 1776"/>
                <a:gd name="T10" fmla="*/ 1280 w 2310"/>
                <a:gd name="T11" fmla="*/ 1442 h 1776"/>
                <a:gd name="T12" fmla="*/ 1338 w 2310"/>
                <a:gd name="T13" fmla="*/ 1260 h 1776"/>
                <a:gd name="T14" fmla="*/ 1356 w 2310"/>
                <a:gd name="T15" fmla="*/ 1066 h 1776"/>
                <a:gd name="T16" fmla="*/ 1328 w 2310"/>
                <a:gd name="T17" fmla="*/ 868 h 1776"/>
                <a:gd name="T18" fmla="*/ 1282 w 2310"/>
                <a:gd name="T19" fmla="*/ 738 h 1776"/>
                <a:gd name="T20" fmla="*/ 1198 w 2310"/>
                <a:gd name="T21" fmla="*/ 588 h 1776"/>
                <a:gd name="T22" fmla="*/ 1088 w 2310"/>
                <a:gd name="T23" fmla="*/ 462 h 1776"/>
                <a:gd name="T24" fmla="*/ 958 w 2310"/>
                <a:gd name="T25" fmla="*/ 360 h 1776"/>
                <a:gd name="T26" fmla="*/ 812 w 2310"/>
                <a:gd name="T27" fmla="*/ 284 h 1776"/>
                <a:gd name="T28" fmla="*/ 652 w 2310"/>
                <a:gd name="T29" fmla="*/ 238 h 1776"/>
                <a:gd name="T30" fmla="*/ 484 w 2310"/>
                <a:gd name="T31" fmla="*/ 224 h 1776"/>
                <a:gd name="T32" fmla="*/ 314 w 2310"/>
                <a:gd name="T33" fmla="*/ 244 h 1776"/>
                <a:gd name="T34" fmla="*/ 198 w 2310"/>
                <a:gd name="T35" fmla="*/ 278 h 1776"/>
                <a:gd name="T36" fmla="*/ 52 w 2310"/>
                <a:gd name="T37" fmla="*/ 346 h 1776"/>
                <a:gd name="T38" fmla="*/ 40 w 2310"/>
                <a:gd name="T39" fmla="*/ 324 h 1776"/>
                <a:gd name="T40" fmla="*/ 136 w 2310"/>
                <a:gd name="T41" fmla="*/ 222 h 1776"/>
                <a:gd name="T42" fmla="*/ 250 w 2310"/>
                <a:gd name="T43" fmla="*/ 136 h 1776"/>
                <a:gd name="T44" fmla="*/ 378 w 2310"/>
                <a:gd name="T45" fmla="*/ 68 h 1776"/>
                <a:gd name="T46" fmla="*/ 488 w 2310"/>
                <a:gd name="T47" fmla="*/ 30 h 1776"/>
                <a:gd name="T48" fmla="*/ 652 w 2310"/>
                <a:gd name="T49" fmla="*/ 2 h 1776"/>
                <a:gd name="T50" fmla="*/ 814 w 2310"/>
                <a:gd name="T51" fmla="*/ 6 h 1776"/>
                <a:gd name="T52" fmla="*/ 968 w 2310"/>
                <a:gd name="T53" fmla="*/ 40 h 1776"/>
                <a:gd name="T54" fmla="*/ 1114 w 2310"/>
                <a:gd name="T55" fmla="*/ 100 h 1776"/>
                <a:gd name="T56" fmla="*/ 1248 w 2310"/>
                <a:gd name="T57" fmla="*/ 186 h 1776"/>
                <a:gd name="T58" fmla="*/ 1362 w 2310"/>
                <a:gd name="T59" fmla="*/ 296 h 1776"/>
                <a:gd name="T60" fmla="*/ 1458 w 2310"/>
                <a:gd name="T61" fmla="*/ 426 h 1776"/>
                <a:gd name="T62" fmla="*/ 1512 w 2310"/>
                <a:gd name="T63" fmla="*/ 538 h 1776"/>
                <a:gd name="T64" fmla="*/ 1634 w 2310"/>
                <a:gd name="T65" fmla="*/ 516 h 1776"/>
                <a:gd name="T66" fmla="*/ 1754 w 2310"/>
                <a:gd name="T67" fmla="*/ 520 h 1776"/>
                <a:gd name="T68" fmla="*/ 1870 w 2310"/>
                <a:gd name="T69" fmla="*/ 544 h 1776"/>
                <a:gd name="T70" fmla="*/ 1978 w 2310"/>
                <a:gd name="T71" fmla="*/ 590 h 1776"/>
                <a:gd name="T72" fmla="*/ 2076 w 2310"/>
                <a:gd name="T73" fmla="*/ 654 h 1776"/>
                <a:gd name="T74" fmla="*/ 2160 w 2310"/>
                <a:gd name="T75" fmla="*/ 738 h 1776"/>
                <a:gd name="T76" fmla="*/ 2230 w 2310"/>
                <a:gd name="T77" fmla="*/ 836 h 1776"/>
                <a:gd name="T78" fmla="*/ 2280 w 2310"/>
                <a:gd name="T79" fmla="*/ 950 h 1776"/>
                <a:gd name="T80" fmla="*/ 2302 w 2310"/>
                <a:gd name="T81" fmla="*/ 1044 h 1776"/>
                <a:gd name="T82" fmla="*/ 2310 w 2310"/>
                <a:gd name="T83" fmla="*/ 1168 h 1776"/>
                <a:gd name="T84" fmla="*/ 2294 w 2310"/>
                <a:gd name="T85" fmla="*/ 1290 h 1776"/>
                <a:gd name="T86" fmla="*/ 2254 w 2310"/>
                <a:gd name="T87" fmla="*/ 1404 h 1776"/>
                <a:gd name="T88" fmla="*/ 2194 w 2310"/>
                <a:gd name="T89" fmla="*/ 1508 h 1776"/>
                <a:gd name="T90" fmla="*/ 2116 w 2310"/>
                <a:gd name="T91" fmla="*/ 1600 h 1776"/>
                <a:gd name="T92" fmla="*/ 2018 w 2310"/>
                <a:gd name="T93" fmla="*/ 1676 h 1776"/>
                <a:gd name="T94" fmla="*/ 1906 w 2310"/>
                <a:gd name="T95" fmla="*/ 1734 h 1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0" h="1776">
                  <a:moveTo>
                    <a:pt x="1874" y="1744"/>
                  </a:moveTo>
                  <a:lnTo>
                    <a:pt x="1874" y="1744"/>
                  </a:lnTo>
                  <a:lnTo>
                    <a:pt x="1828" y="1758"/>
                  </a:lnTo>
                  <a:lnTo>
                    <a:pt x="1782" y="1766"/>
                  </a:lnTo>
                  <a:lnTo>
                    <a:pt x="1736" y="1772"/>
                  </a:lnTo>
                  <a:lnTo>
                    <a:pt x="1690" y="1776"/>
                  </a:lnTo>
                  <a:lnTo>
                    <a:pt x="1644" y="1774"/>
                  </a:lnTo>
                  <a:lnTo>
                    <a:pt x="1600" y="1770"/>
                  </a:lnTo>
                  <a:lnTo>
                    <a:pt x="1556" y="1762"/>
                  </a:lnTo>
                  <a:lnTo>
                    <a:pt x="1512" y="1752"/>
                  </a:lnTo>
                  <a:lnTo>
                    <a:pt x="1468" y="1738"/>
                  </a:lnTo>
                  <a:lnTo>
                    <a:pt x="1428" y="1722"/>
                  </a:lnTo>
                  <a:lnTo>
                    <a:pt x="1388" y="1702"/>
                  </a:lnTo>
                  <a:lnTo>
                    <a:pt x="1348" y="1680"/>
                  </a:lnTo>
                  <a:lnTo>
                    <a:pt x="1312" y="1656"/>
                  </a:lnTo>
                  <a:lnTo>
                    <a:pt x="1276" y="1628"/>
                  </a:lnTo>
                  <a:lnTo>
                    <a:pt x="1242" y="1598"/>
                  </a:lnTo>
                  <a:lnTo>
                    <a:pt x="1210" y="1566"/>
                  </a:lnTo>
                  <a:lnTo>
                    <a:pt x="1210" y="1566"/>
                  </a:lnTo>
                  <a:lnTo>
                    <a:pt x="1210" y="1566"/>
                  </a:lnTo>
                  <a:lnTo>
                    <a:pt x="1210" y="1566"/>
                  </a:lnTo>
                  <a:lnTo>
                    <a:pt x="1236" y="1526"/>
                  </a:lnTo>
                  <a:lnTo>
                    <a:pt x="1258" y="1484"/>
                  </a:lnTo>
                  <a:lnTo>
                    <a:pt x="1280" y="1442"/>
                  </a:lnTo>
                  <a:lnTo>
                    <a:pt x="1298" y="1396"/>
                  </a:lnTo>
                  <a:lnTo>
                    <a:pt x="1314" y="1352"/>
                  </a:lnTo>
                  <a:lnTo>
                    <a:pt x="1328" y="1306"/>
                  </a:lnTo>
                  <a:lnTo>
                    <a:pt x="1338" y="1260"/>
                  </a:lnTo>
                  <a:lnTo>
                    <a:pt x="1348" y="1212"/>
                  </a:lnTo>
                  <a:lnTo>
                    <a:pt x="1354" y="1164"/>
                  </a:lnTo>
                  <a:lnTo>
                    <a:pt x="1356" y="1116"/>
                  </a:lnTo>
                  <a:lnTo>
                    <a:pt x="1356" y="1066"/>
                  </a:lnTo>
                  <a:lnTo>
                    <a:pt x="1354" y="1016"/>
                  </a:lnTo>
                  <a:lnTo>
                    <a:pt x="1348" y="968"/>
                  </a:lnTo>
                  <a:lnTo>
                    <a:pt x="1340" y="918"/>
                  </a:lnTo>
                  <a:lnTo>
                    <a:pt x="1328" y="868"/>
                  </a:lnTo>
                  <a:lnTo>
                    <a:pt x="1314" y="820"/>
                  </a:lnTo>
                  <a:lnTo>
                    <a:pt x="1314" y="820"/>
                  </a:lnTo>
                  <a:lnTo>
                    <a:pt x="1300" y="778"/>
                  </a:lnTo>
                  <a:lnTo>
                    <a:pt x="1282" y="738"/>
                  </a:lnTo>
                  <a:lnTo>
                    <a:pt x="1264" y="698"/>
                  </a:lnTo>
                  <a:lnTo>
                    <a:pt x="1244" y="660"/>
                  </a:lnTo>
                  <a:lnTo>
                    <a:pt x="1222" y="624"/>
                  </a:lnTo>
                  <a:lnTo>
                    <a:pt x="1198" y="588"/>
                  </a:lnTo>
                  <a:lnTo>
                    <a:pt x="1174" y="554"/>
                  </a:lnTo>
                  <a:lnTo>
                    <a:pt x="1146" y="522"/>
                  </a:lnTo>
                  <a:lnTo>
                    <a:pt x="1118" y="490"/>
                  </a:lnTo>
                  <a:lnTo>
                    <a:pt x="1088" y="462"/>
                  </a:lnTo>
                  <a:lnTo>
                    <a:pt x="1058" y="434"/>
                  </a:lnTo>
                  <a:lnTo>
                    <a:pt x="1026" y="408"/>
                  </a:lnTo>
                  <a:lnTo>
                    <a:pt x="992" y="382"/>
                  </a:lnTo>
                  <a:lnTo>
                    <a:pt x="958" y="360"/>
                  </a:lnTo>
                  <a:lnTo>
                    <a:pt x="922" y="338"/>
                  </a:lnTo>
                  <a:lnTo>
                    <a:pt x="886" y="318"/>
                  </a:lnTo>
                  <a:lnTo>
                    <a:pt x="850" y="300"/>
                  </a:lnTo>
                  <a:lnTo>
                    <a:pt x="812" y="284"/>
                  </a:lnTo>
                  <a:lnTo>
                    <a:pt x="772" y="270"/>
                  </a:lnTo>
                  <a:lnTo>
                    <a:pt x="732" y="258"/>
                  </a:lnTo>
                  <a:lnTo>
                    <a:pt x="692" y="248"/>
                  </a:lnTo>
                  <a:lnTo>
                    <a:pt x="652" y="238"/>
                  </a:lnTo>
                  <a:lnTo>
                    <a:pt x="610" y="232"/>
                  </a:lnTo>
                  <a:lnTo>
                    <a:pt x="570" y="228"/>
                  </a:lnTo>
                  <a:lnTo>
                    <a:pt x="528" y="224"/>
                  </a:lnTo>
                  <a:lnTo>
                    <a:pt x="484" y="224"/>
                  </a:lnTo>
                  <a:lnTo>
                    <a:pt x="442" y="226"/>
                  </a:lnTo>
                  <a:lnTo>
                    <a:pt x="400" y="230"/>
                  </a:lnTo>
                  <a:lnTo>
                    <a:pt x="358" y="236"/>
                  </a:lnTo>
                  <a:lnTo>
                    <a:pt x="314" y="244"/>
                  </a:lnTo>
                  <a:lnTo>
                    <a:pt x="272" y="254"/>
                  </a:lnTo>
                  <a:lnTo>
                    <a:pt x="230" y="266"/>
                  </a:lnTo>
                  <a:lnTo>
                    <a:pt x="230" y="266"/>
                  </a:lnTo>
                  <a:lnTo>
                    <a:pt x="198" y="278"/>
                  </a:lnTo>
                  <a:lnTo>
                    <a:pt x="168" y="290"/>
                  </a:lnTo>
                  <a:lnTo>
                    <a:pt x="138" y="302"/>
                  </a:lnTo>
                  <a:lnTo>
                    <a:pt x="108" y="316"/>
                  </a:lnTo>
                  <a:lnTo>
                    <a:pt x="52" y="346"/>
                  </a:lnTo>
                  <a:lnTo>
                    <a:pt x="0" y="382"/>
                  </a:lnTo>
                  <a:lnTo>
                    <a:pt x="0" y="382"/>
                  </a:lnTo>
                  <a:lnTo>
                    <a:pt x="20" y="352"/>
                  </a:lnTo>
                  <a:lnTo>
                    <a:pt x="40" y="324"/>
                  </a:lnTo>
                  <a:lnTo>
                    <a:pt x="64" y="298"/>
                  </a:lnTo>
                  <a:lnTo>
                    <a:pt x="86" y="272"/>
                  </a:lnTo>
                  <a:lnTo>
                    <a:pt x="112" y="246"/>
                  </a:lnTo>
                  <a:lnTo>
                    <a:pt x="136" y="222"/>
                  </a:lnTo>
                  <a:lnTo>
                    <a:pt x="164" y="200"/>
                  </a:lnTo>
                  <a:lnTo>
                    <a:pt x="192" y="178"/>
                  </a:lnTo>
                  <a:lnTo>
                    <a:pt x="220" y="156"/>
                  </a:lnTo>
                  <a:lnTo>
                    <a:pt x="250" y="136"/>
                  </a:lnTo>
                  <a:lnTo>
                    <a:pt x="280" y="118"/>
                  </a:lnTo>
                  <a:lnTo>
                    <a:pt x="312" y="100"/>
                  </a:lnTo>
                  <a:lnTo>
                    <a:pt x="344" y="84"/>
                  </a:lnTo>
                  <a:lnTo>
                    <a:pt x="378" y="68"/>
                  </a:lnTo>
                  <a:lnTo>
                    <a:pt x="412" y="56"/>
                  </a:lnTo>
                  <a:lnTo>
                    <a:pt x="448" y="42"/>
                  </a:lnTo>
                  <a:lnTo>
                    <a:pt x="448" y="42"/>
                  </a:lnTo>
                  <a:lnTo>
                    <a:pt x="488" y="30"/>
                  </a:lnTo>
                  <a:lnTo>
                    <a:pt x="530" y="20"/>
                  </a:lnTo>
                  <a:lnTo>
                    <a:pt x="570" y="12"/>
                  </a:lnTo>
                  <a:lnTo>
                    <a:pt x="612" y="6"/>
                  </a:lnTo>
                  <a:lnTo>
                    <a:pt x="652" y="2"/>
                  </a:lnTo>
                  <a:lnTo>
                    <a:pt x="692" y="0"/>
                  </a:lnTo>
                  <a:lnTo>
                    <a:pt x="734" y="0"/>
                  </a:lnTo>
                  <a:lnTo>
                    <a:pt x="774" y="2"/>
                  </a:lnTo>
                  <a:lnTo>
                    <a:pt x="814" y="6"/>
                  </a:lnTo>
                  <a:lnTo>
                    <a:pt x="852" y="12"/>
                  </a:lnTo>
                  <a:lnTo>
                    <a:pt x="892" y="20"/>
                  </a:lnTo>
                  <a:lnTo>
                    <a:pt x="930" y="28"/>
                  </a:lnTo>
                  <a:lnTo>
                    <a:pt x="968" y="40"/>
                  </a:lnTo>
                  <a:lnTo>
                    <a:pt x="1006" y="52"/>
                  </a:lnTo>
                  <a:lnTo>
                    <a:pt x="1044" y="66"/>
                  </a:lnTo>
                  <a:lnTo>
                    <a:pt x="1080" y="82"/>
                  </a:lnTo>
                  <a:lnTo>
                    <a:pt x="1114" y="100"/>
                  </a:lnTo>
                  <a:lnTo>
                    <a:pt x="1150" y="118"/>
                  </a:lnTo>
                  <a:lnTo>
                    <a:pt x="1182" y="140"/>
                  </a:lnTo>
                  <a:lnTo>
                    <a:pt x="1216" y="162"/>
                  </a:lnTo>
                  <a:lnTo>
                    <a:pt x="1248" y="186"/>
                  </a:lnTo>
                  <a:lnTo>
                    <a:pt x="1278" y="210"/>
                  </a:lnTo>
                  <a:lnTo>
                    <a:pt x="1308" y="238"/>
                  </a:lnTo>
                  <a:lnTo>
                    <a:pt x="1336" y="266"/>
                  </a:lnTo>
                  <a:lnTo>
                    <a:pt x="1362" y="296"/>
                  </a:lnTo>
                  <a:lnTo>
                    <a:pt x="1388" y="326"/>
                  </a:lnTo>
                  <a:lnTo>
                    <a:pt x="1412" y="358"/>
                  </a:lnTo>
                  <a:lnTo>
                    <a:pt x="1436" y="392"/>
                  </a:lnTo>
                  <a:lnTo>
                    <a:pt x="1458" y="426"/>
                  </a:lnTo>
                  <a:lnTo>
                    <a:pt x="1476" y="462"/>
                  </a:lnTo>
                  <a:lnTo>
                    <a:pt x="1496" y="500"/>
                  </a:lnTo>
                  <a:lnTo>
                    <a:pt x="1512" y="538"/>
                  </a:lnTo>
                  <a:lnTo>
                    <a:pt x="1512" y="538"/>
                  </a:lnTo>
                  <a:lnTo>
                    <a:pt x="1542" y="530"/>
                  </a:lnTo>
                  <a:lnTo>
                    <a:pt x="1572" y="524"/>
                  </a:lnTo>
                  <a:lnTo>
                    <a:pt x="1604" y="520"/>
                  </a:lnTo>
                  <a:lnTo>
                    <a:pt x="1634" y="516"/>
                  </a:lnTo>
                  <a:lnTo>
                    <a:pt x="1664" y="514"/>
                  </a:lnTo>
                  <a:lnTo>
                    <a:pt x="1694" y="514"/>
                  </a:lnTo>
                  <a:lnTo>
                    <a:pt x="1724" y="516"/>
                  </a:lnTo>
                  <a:lnTo>
                    <a:pt x="1754" y="520"/>
                  </a:lnTo>
                  <a:lnTo>
                    <a:pt x="1782" y="524"/>
                  </a:lnTo>
                  <a:lnTo>
                    <a:pt x="1812" y="528"/>
                  </a:lnTo>
                  <a:lnTo>
                    <a:pt x="1840" y="536"/>
                  </a:lnTo>
                  <a:lnTo>
                    <a:pt x="1870" y="544"/>
                  </a:lnTo>
                  <a:lnTo>
                    <a:pt x="1898" y="554"/>
                  </a:lnTo>
                  <a:lnTo>
                    <a:pt x="1924" y="564"/>
                  </a:lnTo>
                  <a:lnTo>
                    <a:pt x="1952" y="576"/>
                  </a:lnTo>
                  <a:lnTo>
                    <a:pt x="1978" y="590"/>
                  </a:lnTo>
                  <a:lnTo>
                    <a:pt x="2004" y="604"/>
                  </a:lnTo>
                  <a:lnTo>
                    <a:pt x="2028" y="620"/>
                  </a:lnTo>
                  <a:lnTo>
                    <a:pt x="2052" y="636"/>
                  </a:lnTo>
                  <a:lnTo>
                    <a:pt x="2076" y="654"/>
                  </a:lnTo>
                  <a:lnTo>
                    <a:pt x="2098" y="674"/>
                  </a:lnTo>
                  <a:lnTo>
                    <a:pt x="2120" y="694"/>
                  </a:lnTo>
                  <a:lnTo>
                    <a:pt x="2142" y="716"/>
                  </a:lnTo>
                  <a:lnTo>
                    <a:pt x="2160" y="738"/>
                  </a:lnTo>
                  <a:lnTo>
                    <a:pt x="2180" y="760"/>
                  </a:lnTo>
                  <a:lnTo>
                    <a:pt x="2198" y="784"/>
                  </a:lnTo>
                  <a:lnTo>
                    <a:pt x="2214" y="810"/>
                  </a:lnTo>
                  <a:lnTo>
                    <a:pt x="2230" y="836"/>
                  </a:lnTo>
                  <a:lnTo>
                    <a:pt x="2244" y="864"/>
                  </a:lnTo>
                  <a:lnTo>
                    <a:pt x="2258" y="892"/>
                  </a:lnTo>
                  <a:lnTo>
                    <a:pt x="2270" y="920"/>
                  </a:lnTo>
                  <a:lnTo>
                    <a:pt x="2280" y="950"/>
                  </a:lnTo>
                  <a:lnTo>
                    <a:pt x="2280" y="950"/>
                  </a:lnTo>
                  <a:lnTo>
                    <a:pt x="2288" y="982"/>
                  </a:lnTo>
                  <a:lnTo>
                    <a:pt x="2296" y="1012"/>
                  </a:lnTo>
                  <a:lnTo>
                    <a:pt x="2302" y="1044"/>
                  </a:lnTo>
                  <a:lnTo>
                    <a:pt x="2306" y="1076"/>
                  </a:lnTo>
                  <a:lnTo>
                    <a:pt x="2310" y="1106"/>
                  </a:lnTo>
                  <a:lnTo>
                    <a:pt x="2310" y="1138"/>
                  </a:lnTo>
                  <a:lnTo>
                    <a:pt x="2310" y="1168"/>
                  </a:lnTo>
                  <a:lnTo>
                    <a:pt x="2308" y="1198"/>
                  </a:lnTo>
                  <a:lnTo>
                    <a:pt x="2304" y="1230"/>
                  </a:lnTo>
                  <a:lnTo>
                    <a:pt x="2300" y="1260"/>
                  </a:lnTo>
                  <a:lnTo>
                    <a:pt x="2294" y="1290"/>
                  </a:lnTo>
                  <a:lnTo>
                    <a:pt x="2286" y="1318"/>
                  </a:lnTo>
                  <a:lnTo>
                    <a:pt x="2276" y="1348"/>
                  </a:lnTo>
                  <a:lnTo>
                    <a:pt x="2266" y="1376"/>
                  </a:lnTo>
                  <a:lnTo>
                    <a:pt x="2254" y="1404"/>
                  </a:lnTo>
                  <a:lnTo>
                    <a:pt x="2242" y="1432"/>
                  </a:lnTo>
                  <a:lnTo>
                    <a:pt x="2228" y="1458"/>
                  </a:lnTo>
                  <a:lnTo>
                    <a:pt x="2212" y="1484"/>
                  </a:lnTo>
                  <a:lnTo>
                    <a:pt x="2194" y="1508"/>
                  </a:lnTo>
                  <a:lnTo>
                    <a:pt x="2176" y="1534"/>
                  </a:lnTo>
                  <a:lnTo>
                    <a:pt x="2158" y="1556"/>
                  </a:lnTo>
                  <a:lnTo>
                    <a:pt x="2136" y="1580"/>
                  </a:lnTo>
                  <a:lnTo>
                    <a:pt x="2116" y="1600"/>
                  </a:lnTo>
                  <a:lnTo>
                    <a:pt x="2092" y="1622"/>
                  </a:lnTo>
                  <a:lnTo>
                    <a:pt x="2070" y="1642"/>
                  </a:lnTo>
                  <a:lnTo>
                    <a:pt x="2044" y="1660"/>
                  </a:lnTo>
                  <a:lnTo>
                    <a:pt x="2018" y="1676"/>
                  </a:lnTo>
                  <a:lnTo>
                    <a:pt x="1992" y="1692"/>
                  </a:lnTo>
                  <a:lnTo>
                    <a:pt x="1964" y="1708"/>
                  </a:lnTo>
                  <a:lnTo>
                    <a:pt x="1936" y="1722"/>
                  </a:lnTo>
                  <a:lnTo>
                    <a:pt x="1906" y="1734"/>
                  </a:lnTo>
                  <a:lnTo>
                    <a:pt x="1874" y="1744"/>
                  </a:lnTo>
                  <a:lnTo>
                    <a:pt x="1874" y="174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4F82F54D-384F-2D5B-3913-0C69451669B6}"/>
                </a:ext>
              </a:extLst>
            </p:cNvPr>
            <p:cNvSpPr>
              <a:spLocks/>
            </p:cNvSpPr>
            <p:nvPr/>
          </p:nvSpPr>
          <p:spPr bwMode="auto">
            <a:xfrm rot="21374256">
              <a:off x="5137168" y="2727074"/>
              <a:ext cx="2392817" cy="3776501"/>
            </a:xfrm>
            <a:custGeom>
              <a:avLst/>
              <a:gdLst>
                <a:gd name="T0" fmla="*/ 1210 w 1546"/>
                <a:gd name="T1" fmla="*/ 1564 h 2440"/>
                <a:gd name="T2" fmla="*/ 1246 w 1546"/>
                <a:gd name="T3" fmla="*/ 1680 h 2440"/>
                <a:gd name="T4" fmla="*/ 1260 w 1546"/>
                <a:gd name="T5" fmla="*/ 1798 h 2440"/>
                <a:gd name="T6" fmla="*/ 1252 w 1546"/>
                <a:gd name="T7" fmla="*/ 1916 h 2440"/>
                <a:gd name="T8" fmla="*/ 1222 w 1546"/>
                <a:gd name="T9" fmla="*/ 2030 h 2440"/>
                <a:gd name="T10" fmla="*/ 1170 w 1546"/>
                <a:gd name="T11" fmla="*/ 2136 h 2440"/>
                <a:gd name="T12" fmla="*/ 1098 w 1546"/>
                <a:gd name="T13" fmla="*/ 2232 h 2440"/>
                <a:gd name="T14" fmla="*/ 1008 w 1546"/>
                <a:gd name="T15" fmla="*/ 2314 h 2440"/>
                <a:gd name="T16" fmla="*/ 928 w 1546"/>
                <a:gd name="T17" fmla="*/ 2366 h 2440"/>
                <a:gd name="T18" fmla="*/ 812 w 1546"/>
                <a:gd name="T19" fmla="*/ 2414 h 2440"/>
                <a:gd name="T20" fmla="*/ 690 w 1546"/>
                <a:gd name="T21" fmla="*/ 2438 h 2440"/>
                <a:gd name="T22" fmla="*/ 570 w 1546"/>
                <a:gd name="T23" fmla="*/ 2438 h 2440"/>
                <a:gd name="T24" fmla="*/ 450 w 1546"/>
                <a:gd name="T25" fmla="*/ 2414 h 2440"/>
                <a:gd name="T26" fmla="*/ 338 w 1546"/>
                <a:gd name="T27" fmla="*/ 2368 h 2440"/>
                <a:gd name="T28" fmla="*/ 236 w 1546"/>
                <a:gd name="T29" fmla="*/ 2302 h 2440"/>
                <a:gd name="T30" fmla="*/ 148 w 1546"/>
                <a:gd name="T31" fmla="*/ 2214 h 2440"/>
                <a:gd name="T32" fmla="*/ 92 w 1546"/>
                <a:gd name="T33" fmla="*/ 2136 h 2440"/>
                <a:gd name="T34" fmla="*/ 20 w 1546"/>
                <a:gd name="T35" fmla="*/ 1964 h 2440"/>
                <a:gd name="T36" fmla="*/ 0 w 1546"/>
                <a:gd name="T37" fmla="*/ 1784 h 2440"/>
                <a:gd name="T38" fmla="*/ 34 w 1546"/>
                <a:gd name="T39" fmla="*/ 1610 h 2440"/>
                <a:gd name="T40" fmla="*/ 114 w 1546"/>
                <a:gd name="T41" fmla="*/ 1450 h 2440"/>
                <a:gd name="T42" fmla="*/ 158 w 1546"/>
                <a:gd name="T43" fmla="*/ 1464 h 2440"/>
                <a:gd name="T44" fmla="*/ 346 w 1546"/>
                <a:gd name="T45" fmla="*/ 1502 h 2440"/>
                <a:gd name="T46" fmla="*/ 538 w 1546"/>
                <a:gd name="T47" fmla="*/ 1496 h 2440"/>
                <a:gd name="T48" fmla="*/ 728 w 1546"/>
                <a:gd name="T49" fmla="*/ 1446 h 2440"/>
                <a:gd name="T50" fmla="*/ 864 w 1546"/>
                <a:gd name="T51" fmla="*/ 1380 h 2440"/>
                <a:gd name="T52" fmla="*/ 1002 w 1546"/>
                <a:gd name="T53" fmla="*/ 1276 h 2440"/>
                <a:gd name="T54" fmla="*/ 1116 w 1546"/>
                <a:gd name="T55" fmla="*/ 1148 h 2440"/>
                <a:gd name="T56" fmla="*/ 1200 w 1546"/>
                <a:gd name="T57" fmla="*/ 1004 h 2440"/>
                <a:gd name="T58" fmla="*/ 1254 w 1546"/>
                <a:gd name="T59" fmla="*/ 848 h 2440"/>
                <a:gd name="T60" fmla="*/ 1278 w 1546"/>
                <a:gd name="T61" fmla="*/ 686 h 2440"/>
                <a:gd name="T62" fmla="*/ 1270 w 1546"/>
                <a:gd name="T63" fmla="*/ 520 h 2440"/>
                <a:gd name="T64" fmla="*/ 1230 w 1546"/>
                <a:gd name="T65" fmla="*/ 354 h 2440"/>
                <a:gd name="T66" fmla="*/ 1154 w 1546"/>
                <a:gd name="T67" fmla="*/ 198 h 2440"/>
                <a:gd name="T68" fmla="*/ 1100 w 1546"/>
                <a:gd name="T69" fmla="*/ 116 h 2440"/>
                <a:gd name="T70" fmla="*/ 990 w 1546"/>
                <a:gd name="T71" fmla="*/ 0 h 2440"/>
                <a:gd name="T72" fmla="*/ 1116 w 1546"/>
                <a:gd name="T73" fmla="*/ 60 h 2440"/>
                <a:gd name="T74" fmla="*/ 1232 w 1546"/>
                <a:gd name="T75" fmla="*/ 140 h 2440"/>
                <a:gd name="T76" fmla="*/ 1336 w 1546"/>
                <a:gd name="T77" fmla="*/ 240 h 2440"/>
                <a:gd name="T78" fmla="*/ 1422 w 1546"/>
                <a:gd name="T79" fmla="*/ 360 h 2440"/>
                <a:gd name="T80" fmla="*/ 1480 w 1546"/>
                <a:gd name="T81" fmla="*/ 472 h 2440"/>
                <a:gd name="T82" fmla="*/ 1528 w 1546"/>
                <a:gd name="T83" fmla="*/ 628 h 2440"/>
                <a:gd name="T84" fmla="*/ 1546 w 1546"/>
                <a:gd name="T85" fmla="*/ 786 h 2440"/>
                <a:gd name="T86" fmla="*/ 1536 w 1546"/>
                <a:gd name="T87" fmla="*/ 944 h 2440"/>
                <a:gd name="T88" fmla="*/ 1496 w 1546"/>
                <a:gd name="T89" fmla="*/ 1096 h 2440"/>
                <a:gd name="T90" fmla="*/ 1428 w 1546"/>
                <a:gd name="T91" fmla="*/ 1240 h 2440"/>
                <a:gd name="T92" fmla="*/ 1336 w 1546"/>
                <a:gd name="T93" fmla="*/ 1370 h 2440"/>
                <a:gd name="T94" fmla="*/ 1216 w 1546"/>
                <a:gd name="T95" fmla="*/ 1482 h 2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46" h="2440">
                  <a:moveTo>
                    <a:pt x="1184" y="1508"/>
                  </a:moveTo>
                  <a:lnTo>
                    <a:pt x="1184" y="1508"/>
                  </a:lnTo>
                  <a:lnTo>
                    <a:pt x="1198" y="1536"/>
                  </a:lnTo>
                  <a:lnTo>
                    <a:pt x="1210" y="1564"/>
                  </a:lnTo>
                  <a:lnTo>
                    <a:pt x="1222" y="1592"/>
                  </a:lnTo>
                  <a:lnTo>
                    <a:pt x="1232" y="1622"/>
                  </a:lnTo>
                  <a:lnTo>
                    <a:pt x="1240" y="1650"/>
                  </a:lnTo>
                  <a:lnTo>
                    <a:pt x="1246" y="1680"/>
                  </a:lnTo>
                  <a:lnTo>
                    <a:pt x="1252" y="1710"/>
                  </a:lnTo>
                  <a:lnTo>
                    <a:pt x="1256" y="1738"/>
                  </a:lnTo>
                  <a:lnTo>
                    <a:pt x="1260" y="1768"/>
                  </a:lnTo>
                  <a:lnTo>
                    <a:pt x="1260" y="1798"/>
                  </a:lnTo>
                  <a:lnTo>
                    <a:pt x="1260" y="1828"/>
                  </a:lnTo>
                  <a:lnTo>
                    <a:pt x="1258" y="1858"/>
                  </a:lnTo>
                  <a:lnTo>
                    <a:pt x="1256" y="1886"/>
                  </a:lnTo>
                  <a:lnTo>
                    <a:pt x="1252" y="1916"/>
                  </a:lnTo>
                  <a:lnTo>
                    <a:pt x="1246" y="1944"/>
                  </a:lnTo>
                  <a:lnTo>
                    <a:pt x="1240" y="1974"/>
                  </a:lnTo>
                  <a:lnTo>
                    <a:pt x="1230" y="2002"/>
                  </a:lnTo>
                  <a:lnTo>
                    <a:pt x="1222" y="2030"/>
                  </a:lnTo>
                  <a:lnTo>
                    <a:pt x="1210" y="2056"/>
                  </a:lnTo>
                  <a:lnTo>
                    <a:pt x="1198" y="2084"/>
                  </a:lnTo>
                  <a:lnTo>
                    <a:pt x="1184" y="2110"/>
                  </a:lnTo>
                  <a:lnTo>
                    <a:pt x="1170" y="2136"/>
                  </a:lnTo>
                  <a:lnTo>
                    <a:pt x="1154" y="2160"/>
                  </a:lnTo>
                  <a:lnTo>
                    <a:pt x="1136" y="2186"/>
                  </a:lnTo>
                  <a:lnTo>
                    <a:pt x="1118" y="2208"/>
                  </a:lnTo>
                  <a:lnTo>
                    <a:pt x="1098" y="2232"/>
                  </a:lnTo>
                  <a:lnTo>
                    <a:pt x="1078" y="2254"/>
                  </a:lnTo>
                  <a:lnTo>
                    <a:pt x="1056" y="2274"/>
                  </a:lnTo>
                  <a:lnTo>
                    <a:pt x="1034" y="2296"/>
                  </a:lnTo>
                  <a:lnTo>
                    <a:pt x="1008" y="2314"/>
                  </a:lnTo>
                  <a:lnTo>
                    <a:pt x="984" y="2332"/>
                  </a:lnTo>
                  <a:lnTo>
                    <a:pt x="956" y="2350"/>
                  </a:lnTo>
                  <a:lnTo>
                    <a:pt x="956" y="2350"/>
                  </a:lnTo>
                  <a:lnTo>
                    <a:pt x="928" y="2366"/>
                  </a:lnTo>
                  <a:lnTo>
                    <a:pt x="900" y="2380"/>
                  </a:lnTo>
                  <a:lnTo>
                    <a:pt x="870" y="2392"/>
                  </a:lnTo>
                  <a:lnTo>
                    <a:pt x="842" y="2404"/>
                  </a:lnTo>
                  <a:lnTo>
                    <a:pt x="812" y="2414"/>
                  </a:lnTo>
                  <a:lnTo>
                    <a:pt x="782" y="2422"/>
                  </a:lnTo>
                  <a:lnTo>
                    <a:pt x="752" y="2428"/>
                  </a:lnTo>
                  <a:lnTo>
                    <a:pt x="722" y="2434"/>
                  </a:lnTo>
                  <a:lnTo>
                    <a:pt x="690" y="2438"/>
                  </a:lnTo>
                  <a:lnTo>
                    <a:pt x="660" y="2440"/>
                  </a:lnTo>
                  <a:lnTo>
                    <a:pt x="630" y="2440"/>
                  </a:lnTo>
                  <a:lnTo>
                    <a:pt x="600" y="2440"/>
                  </a:lnTo>
                  <a:lnTo>
                    <a:pt x="570" y="2438"/>
                  </a:lnTo>
                  <a:lnTo>
                    <a:pt x="540" y="2434"/>
                  </a:lnTo>
                  <a:lnTo>
                    <a:pt x="510" y="2428"/>
                  </a:lnTo>
                  <a:lnTo>
                    <a:pt x="480" y="2422"/>
                  </a:lnTo>
                  <a:lnTo>
                    <a:pt x="450" y="2414"/>
                  </a:lnTo>
                  <a:lnTo>
                    <a:pt x="422" y="2404"/>
                  </a:lnTo>
                  <a:lnTo>
                    <a:pt x="394" y="2394"/>
                  </a:lnTo>
                  <a:lnTo>
                    <a:pt x="366" y="2382"/>
                  </a:lnTo>
                  <a:lnTo>
                    <a:pt x="338" y="2368"/>
                  </a:lnTo>
                  <a:lnTo>
                    <a:pt x="312" y="2354"/>
                  </a:lnTo>
                  <a:lnTo>
                    <a:pt x="286" y="2338"/>
                  </a:lnTo>
                  <a:lnTo>
                    <a:pt x="260" y="2320"/>
                  </a:lnTo>
                  <a:lnTo>
                    <a:pt x="236" y="2302"/>
                  </a:lnTo>
                  <a:lnTo>
                    <a:pt x="212" y="2282"/>
                  </a:lnTo>
                  <a:lnTo>
                    <a:pt x="190" y="2260"/>
                  </a:lnTo>
                  <a:lnTo>
                    <a:pt x="168" y="2238"/>
                  </a:lnTo>
                  <a:lnTo>
                    <a:pt x="148" y="2214"/>
                  </a:lnTo>
                  <a:lnTo>
                    <a:pt x="128" y="2190"/>
                  </a:lnTo>
                  <a:lnTo>
                    <a:pt x="108" y="2164"/>
                  </a:lnTo>
                  <a:lnTo>
                    <a:pt x="92" y="2136"/>
                  </a:lnTo>
                  <a:lnTo>
                    <a:pt x="92" y="2136"/>
                  </a:lnTo>
                  <a:lnTo>
                    <a:pt x="68" y="2094"/>
                  </a:lnTo>
                  <a:lnTo>
                    <a:pt x="48" y="2052"/>
                  </a:lnTo>
                  <a:lnTo>
                    <a:pt x="32" y="2008"/>
                  </a:lnTo>
                  <a:lnTo>
                    <a:pt x="20" y="1964"/>
                  </a:lnTo>
                  <a:lnTo>
                    <a:pt x="10" y="1920"/>
                  </a:lnTo>
                  <a:lnTo>
                    <a:pt x="4" y="1874"/>
                  </a:lnTo>
                  <a:lnTo>
                    <a:pt x="0" y="1830"/>
                  </a:lnTo>
                  <a:lnTo>
                    <a:pt x="0" y="1784"/>
                  </a:lnTo>
                  <a:lnTo>
                    <a:pt x="4" y="1740"/>
                  </a:lnTo>
                  <a:lnTo>
                    <a:pt x="10" y="1696"/>
                  </a:lnTo>
                  <a:lnTo>
                    <a:pt x="20" y="1652"/>
                  </a:lnTo>
                  <a:lnTo>
                    <a:pt x="34" y="1610"/>
                  </a:lnTo>
                  <a:lnTo>
                    <a:pt x="48" y="1568"/>
                  </a:lnTo>
                  <a:lnTo>
                    <a:pt x="68" y="1526"/>
                  </a:lnTo>
                  <a:lnTo>
                    <a:pt x="90" y="1488"/>
                  </a:lnTo>
                  <a:lnTo>
                    <a:pt x="114" y="1450"/>
                  </a:lnTo>
                  <a:lnTo>
                    <a:pt x="114" y="1450"/>
                  </a:lnTo>
                  <a:lnTo>
                    <a:pt x="112" y="1448"/>
                  </a:lnTo>
                  <a:lnTo>
                    <a:pt x="112" y="1448"/>
                  </a:lnTo>
                  <a:lnTo>
                    <a:pt x="158" y="1464"/>
                  </a:lnTo>
                  <a:lnTo>
                    <a:pt x="204" y="1478"/>
                  </a:lnTo>
                  <a:lnTo>
                    <a:pt x="250" y="1488"/>
                  </a:lnTo>
                  <a:lnTo>
                    <a:pt x="298" y="1496"/>
                  </a:lnTo>
                  <a:lnTo>
                    <a:pt x="346" y="1502"/>
                  </a:lnTo>
                  <a:lnTo>
                    <a:pt x="394" y="1504"/>
                  </a:lnTo>
                  <a:lnTo>
                    <a:pt x="442" y="1504"/>
                  </a:lnTo>
                  <a:lnTo>
                    <a:pt x="490" y="1502"/>
                  </a:lnTo>
                  <a:lnTo>
                    <a:pt x="538" y="1496"/>
                  </a:lnTo>
                  <a:lnTo>
                    <a:pt x="586" y="1488"/>
                  </a:lnTo>
                  <a:lnTo>
                    <a:pt x="634" y="1478"/>
                  </a:lnTo>
                  <a:lnTo>
                    <a:pt x="680" y="1464"/>
                  </a:lnTo>
                  <a:lnTo>
                    <a:pt x="728" y="1446"/>
                  </a:lnTo>
                  <a:lnTo>
                    <a:pt x="774" y="1428"/>
                  </a:lnTo>
                  <a:lnTo>
                    <a:pt x="818" y="1406"/>
                  </a:lnTo>
                  <a:lnTo>
                    <a:pt x="864" y="1380"/>
                  </a:lnTo>
                  <a:lnTo>
                    <a:pt x="864" y="1380"/>
                  </a:lnTo>
                  <a:lnTo>
                    <a:pt x="900" y="1356"/>
                  </a:lnTo>
                  <a:lnTo>
                    <a:pt x="936" y="1330"/>
                  </a:lnTo>
                  <a:lnTo>
                    <a:pt x="970" y="1304"/>
                  </a:lnTo>
                  <a:lnTo>
                    <a:pt x="1002" y="1276"/>
                  </a:lnTo>
                  <a:lnTo>
                    <a:pt x="1034" y="1246"/>
                  </a:lnTo>
                  <a:lnTo>
                    <a:pt x="1062" y="1214"/>
                  </a:lnTo>
                  <a:lnTo>
                    <a:pt x="1090" y="1182"/>
                  </a:lnTo>
                  <a:lnTo>
                    <a:pt x="1116" y="1148"/>
                  </a:lnTo>
                  <a:lnTo>
                    <a:pt x="1138" y="1114"/>
                  </a:lnTo>
                  <a:lnTo>
                    <a:pt x="1160" y="1078"/>
                  </a:lnTo>
                  <a:lnTo>
                    <a:pt x="1182" y="1042"/>
                  </a:lnTo>
                  <a:lnTo>
                    <a:pt x="1200" y="1004"/>
                  </a:lnTo>
                  <a:lnTo>
                    <a:pt x="1216" y="966"/>
                  </a:lnTo>
                  <a:lnTo>
                    <a:pt x="1230" y="928"/>
                  </a:lnTo>
                  <a:lnTo>
                    <a:pt x="1244" y="888"/>
                  </a:lnTo>
                  <a:lnTo>
                    <a:pt x="1254" y="848"/>
                  </a:lnTo>
                  <a:lnTo>
                    <a:pt x="1262" y="808"/>
                  </a:lnTo>
                  <a:lnTo>
                    <a:pt x="1270" y="768"/>
                  </a:lnTo>
                  <a:lnTo>
                    <a:pt x="1274" y="726"/>
                  </a:lnTo>
                  <a:lnTo>
                    <a:pt x="1278" y="686"/>
                  </a:lnTo>
                  <a:lnTo>
                    <a:pt x="1278" y="644"/>
                  </a:lnTo>
                  <a:lnTo>
                    <a:pt x="1278" y="602"/>
                  </a:lnTo>
                  <a:lnTo>
                    <a:pt x="1276" y="560"/>
                  </a:lnTo>
                  <a:lnTo>
                    <a:pt x="1270" y="520"/>
                  </a:lnTo>
                  <a:lnTo>
                    <a:pt x="1264" y="478"/>
                  </a:lnTo>
                  <a:lnTo>
                    <a:pt x="1254" y="436"/>
                  </a:lnTo>
                  <a:lnTo>
                    <a:pt x="1242" y="396"/>
                  </a:lnTo>
                  <a:lnTo>
                    <a:pt x="1230" y="354"/>
                  </a:lnTo>
                  <a:lnTo>
                    <a:pt x="1214" y="314"/>
                  </a:lnTo>
                  <a:lnTo>
                    <a:pt x="1196" y="276"/>
                  </a:lnTo>
                  <a:lnTo>
                    <a:pt x="1176" y="236"/>
                  </a:lnTo>
                  <a:lnTo>
                    <a:pt x="1154" y="198"/>
                  </a:lnTo>
                  <a:lnTo>
                    <a:pt x="1154" y="198"/>
                  </a:lnTo>
                  <a:lnTo>
                    <a:pt x="1136" y="170"/>
                  </a:lnTo>
                  <a:lnTo>
                    <a:pt x="1118" y="142"/>
                  </a:lnTo>
                  <a:lnTo>
                    <a:pt x="1100" y="116"/>
                  </a:lnTo>
                  <a:lnTo>
                    <a:pt x="1078" y="92"/>
                  </a:lnTo>
                  <a:lnTo>
                    <a:pt x="1036" y="44"/>
                  </a:lnTo>
                  <a:lnTo>
                    <a:pt x="990" y="0"/>
                  </a:lnTo>
                  <a:lnTo>
                    <a:pt x="990" y="0"/>
                  </a:lnTo>
                  <a:lnTo>
                    <a:pt x="1022" y="12"/>
                  </a:lnTo>
                  <a:lnTo>
                    <a:pt x="1054" y="28"/>
                  </a:lnTo>
                  <a:lnTo>
                    <a:pt x="1086" y="42"/>
                  </a:lnTo>
                  <a:lnTo>
                    <a:pt x="1116" y="60"/>
                  </a:lnTo>
                  <a:lnTo>
                    <a:pt x="1146" y="78"/>
                  </a:lnTo>
                  <a:lnTo>
                    <a:pt x="1176" y="98"/>
                  </a:lnTo>
                  <a:lnTo>
                    <a:pt x="1204" y="118"/>
                  </a:lnTo>
                  <a:lnTo>
                    <a:pt x="1232" y="140"/>
                  </a:lnTo>
                  <a:lnTo>
                    <a:pt x="1260" y="164"/>
                  </a:lnTo>
                  <a:lnTo>
                    <a:pt x="1286" y="188"/>
                  </a:lnTo>
                  <a:lnTo>
                    <a:pt x="1312" y="214"/>
                  </a:lnTo>
                  <a:lnTo>
                    <a:pt x="1336" y="240"/>
                  </a:lnTo>
                  <a:lnTo>
                    <a:pt x="1358" y="268"/>
                  </a:lnTo>
                  <a:lnTo>
                    <a:pt x="1380" y="298"/>
                  </a:lnTo>
                  <a:lnTo>
                    <a:pt x="1402" y="328"/>
                  </a:lnTo>
                  <a:lnTo>
                    <a:pt x="1422" y="360"/>
                  </a:lnTo>
                  <a:lnTo>
                    <a:pt x="1422" y="360"/>
                  </a:lnTo>
                  <a:lnTo>
                    <a:pt x="1444" y="396"/>
                  </a:lnTo>
                  <a:lnTo>
                    <a:pt x="1462" y="434"/>
                  </a:lnTo>
                  <a:lnTo>
                    <a:pt x="1480" y="472"/>
                  </a:lnTo>
                  <a:lnTo>
                    <a:pt x="1494" y="510"/>
                  </a:lnTo>
                  <a:lnTo>
                    <a:pt x="1508" y="548"/>
                  </a:lnTo>
                  <a:lnTo>
                    <a:pt x="1518" y="588"/>
                  </a:lnTo>
                  <a:lnTo>
                    <a:pt x="1528" y="628"/>
                  </a:lnTo>
                  <a:lnTo>
                    <a:pt x="1536" y="666"/>
                  </a:lnTo>
                  <a:lnTo>
                    <a:pt x="1542" y="706"/>
                  </a:lnTo>
                  <a:lnTo>
                    <a:pt x="1544" y="746"/>
                  </a:lnTo>
                  <a:lnTo>
                    <a:pt x="1546" y="786"/>
                  </a:lnTo>
                  <a:lnTo>
                    <a:pt x="1546" y="826"/>
                  </a:lnTo>
                  <a:lnTo>
                    <a:pt x="1544" y="866"/>
                  </a:lnTo>
                  <a:lnTo>
                    <a:pt x="1540" y="904"/>
                  </a:lnTo>
                  <a:lnTo>
                    <a:pt x="1536" y="944"/>
                  </a:lnTo>
                  <a:lnTo>
                    <a:pt x="1528" y="982"/>
                  </a:lnTo>
                  <a:lnTo>
                    <a:pt x="1520" y="1022"/>
                  </a:lnTo>
                  <a:lnTo>
                    <a:pt x="1508" y="1060"/>
                  </a:lnTo>
                  <a:lnTo>
                    <a:pt x="1496" y="1096"/>
                  </a:lnTo>
                  <a:lnTo>
                    <a:pt x="1482" y="1134"/>
                  </a:lnTo>
                  <a:lnTo>
                    <a:pt x="1466" y="1170"/>
                  </a:lnTo>
                  <a:lnTo>
                    <a:pt x="1448" y="1206"/>
                  </a:lnTo>
                  <a:lnTo>
                    <a:pt x="1428" y="1240"/>
                  </a:lnTo>
                  <a:lnTo>
                    <a:pt x="1408" y="1274"/>
                  </a:lnTo>
                  <a:lnTo>
                    <a:pt x="1386" y="1308"/>
                  </a:lnTo>
                  <a:lnTo>
                    <a:pt x="1362" y="1340"/>
                  </a:lnTo>
                  <a:lnTo>
                    <a:pt x="1336" y="1370"/>
                  </a:lnTo>
                  <a:lnTo>
                    <a:pt x="1308" y="1400"/>
                  </a:lnTo>
                  <a:lnTo>
                    <a:pt x="1280" y="1430"/>
                  </a:lnTo>
                  <a:lnTo>
                    <a:pt x="1248" y="1456"/>
                  </a:lnTo>
                  <a:lnTo>
                    <a:pt x="1216" y="1482"/>
                  </a:lnTo>
                  <a:lnTo>
                    <a:pt x="1184" y="1508"/>
                  </a:lnTo>
                  <a:lnTo>
                    <a:pt x="1184" y="150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A4198DD8-F49C-82C3-1A8B-E52EC0F237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132" y="3327339"/>
              <a:ext cx="3739358" cy="1950161"/>
            </a:xfrm>
            <a:custGeom>
              <a:avLst/>
              <a:gdLst>
                <a:gd name="T0" fmla="*/ 2234 w 2416"/>
                <a:gd name="T1" fmla="*/ 758 h 1260"/>
                <a:gd name="T2" fmla="*/ 2122 w 2416"/>
                <a:gd name="T3" fmla="*/ 878 h 1260"/>
                <a:gd name="T4" fmla="*/ 1992 w 2416"/>
                <a:gd name="T5" fmla="*/ 972 h 1260"/>
                <a:gd name="T6" fmla="*/ 1848 w 2416"/>
                <a:gd name="T7" fmla="*/ 1040 h 1260"/>
                <a:gd name="T8" fmla="*/ 1696 w 2416"/>
                <a:gd name="T9" fmla="*/ 1080 h 1260"/>
                <a:gd name="T10" fmla="*/ 1538 w 2416"/>
                <a:gd name="T11" fmla="*/ 1092 h 1260"/>
                <a:gd name="T12" fmla="*/ 1378 w 2416"/>
                <a:gd name="T13" fmla="*/ 1074 h 1260"/>
                <a:gd name="T14" fmla="*/ 1224 w 2416"/>
                <a:gd name="T15" fmla="*/ 1026 h 1260"/>
                <a:gd name="T16" fmla="*/ 1130 w 2416"/>
                <a:gd name="T17" fmla="*/ 1014 h 1260"/>
                <a:gd name="T18" fmla="*/ 1046 w 2416"/>
                <a:gd name="T19" fmla="*/ 1104 h 1260"/>
                <a:gd name="T20" fmla="*/ 950 w 2416"/>
                <a:gd name="T21" fmla="*/ 1174 h 1260"/>
                <a:gd name="T22" fmla="*/ 842 w 2416"/>
                <a:gd name="T23" fmla="*/ 1224 h 1260"/>
                <a:gd name="T24" fmla="*/ 728 w 2416"/>
                <a:gd name="T25" fmla="*/ 1252 h 1260"/>
                <a:gd name="T26" fmla="*/ 610 w 2416"/>
                <a:gd name="T27" fmla="*/ 1260 h 1260"/>
                <a:gd name="T28" fmla="*/ 492 w 2416"/>
                <a:gd name="T29" fmla="*/ 1246 h 1260"/>
                <a:gd name="T30" fmla="*/ 376 w 2416"/>
                <a:gd name="T31" fmla="*/ 1208 h 1260"/>
                <a:gd name="T32" fmla="*/ 294 w 2416"/>
                <a:gd name="T33" fmla="*/ 1164 h 1260"/>
                <a:gd name="T34" fmla="*/ 194 w 2416"/>
                <a:gd name="T35" fmla="*/ 1084 h 1260"/>
                <a:gd name="T36" fmla="*/ 114 w 2416"/>
                <a:gd name="T37" fmla="*/ 990 h 1260"/>
                <a:gd name="T38" fmla="*/ 54 w 2416"/>
                <a:gd name="T39" fmla="*/ 884 h 1260"/>
                <a:gd name="T40" fmla="*/ 16 w 2416"/>
                <a:gd name="T41" fmla="*/ 770 h 1260"/>
                <a:gd name="T42" fmla="*/ 0 w 2416"/>
                <a:gd name="T43" fmla="*/ 650 h 1260"/>
                <a:gd name="T44" fmla="*/ 8 w 2416"/>
                <a:gd name="T45" fmla="*/ 528 h 1260"/>
                <a:gd name="T46" fmla="*/ 40 w 2416"/>
                <a:gd name="T47" fmla="*/ 408 h 1260"/>
                <a:gd name="T48" fmla="*/ 98 w 2416"/>
                <a:gd name="T49" fmla="*/ 294 h 1260"/>
                <a:gd name="T50" fmla="*/ 186 w 2416"/>
                <a:gd name="T51" fmla="*/ 184 h 1260"/>
                <a:gd name="T52" fmla="*/ 332 w 2416"/>
                <a:gd name="T53" fmla="*/ 76 h 1260"/>
                <a:gd name="T54" fmla="*/ 500 w 2416"/>
                <a:gd name="T55" fmla="*/ 14 h 1260"/>
                <a:gd name="T56" fmla="*/ 678 w 2416"/>
                <a:gd name="T57" fmla="*/ 2 h 1260"/>
                <a:gd name="T58" fmla="*/ 722 w 2416"/>
                <a:gd name="T59" fmla="*/ 6 h 1260"/>
                <a:gd name="T60" fmla="*/ 764 w 2416"/>
                <a:gd name="T61" fmla="*/ 192 h 1260"/>
                <a:gd name="T62" fmla="*/ 844 w 2416"/>
                <a:gd name="T63" fmla="*/ 366 h 1260"/>
                <a:gd name="T64" fmla="*/ 964 w 2416"/>
                <a:gd name="T65" fmla="*/ 520 h 1260"/>
                <a:gd name="T66" fmla="*/ 1120 w 2416"/>
                <a:gd name="T67" fmla="*/ 646 h 1260"/>
                <a:gd name="T68" fmla="*/ 1236 w 2416"/>
                <a:gd name="T69" fmla="*/ 708 h 1260"/>
                <a:gd name="T70" fmla="*/ 1398 w 2416"/>
                <a:gd name="T71" fmla="*/ 760 h 1260"/>
                <a:gd name="T72" fmla="*/ 1564 w 2416"/>
                <a:gd name="T73" fmla="*/ 780 h 1260"/>
                <a:gd name="T74" fmla="*/ 1728 w 2416"/>
                <a:gd name="T75" fmla="*/ 766 h 1260"/>
                <a:gd name="T76" fmla="*/ 1888 w 2416"/>
                <a:gd name="T77" fmla="*/ 722 h 1260"/>
                <a:gd name="T78" fmla="*/ 2036 w 2416"/>
                <a:gd name="T79" fmla="*/ 648 h 1260"/>
                <a:gd name="T80" fmla="*/ 2170 w 2416"/>
                <a:gd name="T81" fmla="*/ 546 h 1260"/>
                <a:gd name="T82" fmla="*/ 2284 w 2416"/>
                <a:gd name="T83" fmla="*/ 414 h 1260"/>
                <a:gd name="T84" fmla="*/ 2340 w 2416"/>
                <a:gd name="T85" fmla="*/ 322 h 1260"/>
                <a:gd name="T86" fmla="*/ 2412 w 2416"/>
                <a:gd name="T87" fmla="*/ 144 h 1260"/>
                <a:gd name="T88" fmla="*/ 2416 w 2416"/>
                <a:gd name="T89" fmla="*/ 248 h 1260"/>
                <a:gd name="T90" fmla="*/ 2402 w 2416"/>
                <a:gd name="T91" fmla="*/ 388 h 1260"/>
                <a:gd name="T92" fmla="*/ 2364 w 2416"/>
                <a:gd name="T93" fmla="*/ 526 h 1260"/>
                <a:gd name="T94" fmla="*/ 2302 w 2416"/>
                <a:gd name="T95" fmla="*/ 658 h 1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16" h="1260">
                  <a:moveTo>
                    <a:pt x="2282" y="690"/>
                  </a:moveTo>
                  <a:lnTo>
                    <a:pt x="2282" y="690"/>
                  </a:lnTo>
                  <a:lnTo>
                    <a:pt x="2258" y="726"/>
                  </a:lnTo>
                  <a:lnTo>
                    <a:pt x="2234" y="758"/>
                  </a:lnTo>
                  <a:lnTo>
                    <a:pt x="2208" y="792"/>
                  </a:lnTo>
                  <a:lnTo>
                    <a:pt x="2180" y="822"/>
                  </a:lnTo>
                  <a:lnTo>
                    <a:pt x="2152" y="850"/>
                  </a:lnTo>
                  <a:lnTo>
                    <a:pt x="2122" y="878"/>
                  </a:lnTo>
                  <a:lnTo>
                    <a:pt x="2090" y="904"/>
                  </a:lnTo>
                  <a:lnTo>
                    <a:pt x="2058" y="928"/>
                  </a:lnTo>
                  <a:lnTo>
                    <a:pt x="2026" y="952"/>
                  </a:lnTo>
                  <a:lnTo>
                    <a:pt x="1992" y="972"/>
                  </a:lnTo>
                  <a:lnTo>
                    <a:pt x="1956" y="992"/>
                  </a:lnTo>
                  <a:lnTo>
                    <a:pt x="1920" y="1010"/>
                  </a:lnTo>
                  <a:lnTo>
                    <a:pt x="1884" y="1026"/>
                  </a:lnTo>
                  <a:lnTo>
                    <a:pt x="1848" y="1040"/>
                  </a:lnTo>
                  <a:lnTo>
                    <a:pt x="1810" y="1052"/>
                  </a:lnTo>
                  <a:lnTo>
                    <a:pt x="1772" y="1064"/>
                  </a:lnTo>
                  <a:lnTo>
                    <a:pt x="1734" y="1072"/>
                  </a:lnTo>
                  <a:lnTo>
                    <a:pt x="1696" y="1080"/>
                  </a:lnTo>
                  <a:lnTo>
                    <a:pt x="1656" y="1086"/>
                  </a:lnTo>
                  <a:lnTo>
                    <a:pt x="1616" y="1090"/>
                  </a:lnTo>
                  <a:lnTo>
                    <a:pt x="1576" y="1092"/>
                  </a:lnTo>
                  <a:lnTo>
                    <a:pt x="1538" y="1092"/>
                  </a:lnTo>
                  <a:lnTo>
                    <a:pt x="1498" y="1090"/>
                  </a:lnTo>
                  <a:lnTo>
                    <a:pt x="1458" y="1086"/>
                  </a:lnTo>
                  <a:lnTo>
                    <a:pt x="1418" y="1080"/>
                  </a:lnTo>
                  <a:lnTo>
                    <a:pt x="1378" y="1074"/>
                  </a:lnTo>
                  <a:lnTo>
                    <a:pt x="1340" y="1064"/>
                  </a:lnTo>
                  <a:lnTo>
                    <a:pt x="1300" y="1054"/>
                  </a:lnTo>
                  <a:lnTo>
                    <a:pt x="1262" y="1040"/>
                  </a:lnTo>
                  <a:lnTo>
                    <a:pt x="1224" y="1026"/>
                  </a:lnTo>
                  <a:lnTo>
                    <a:pt x="1186" y="1008"/>
                  </a:lnTo>
                  <a:lnTo>
                    <a:pt x="1148" y="990"/>
                  </a:lnTo>
                  <a:lnTo>
                    <a:pt x="1148" y="990"/>
                  </a:lnTo>
                  <a:lnTo>
                    <a:pt x="1130" y="1014"/>
                  </a:lnTo>
                  <a:lnTo>
                    <a:pt x="1110" y="1038"/>
                  </a:lnTo>
                  <a:lnTo>
                    <a:pt x="1090" y="1062"/>
                  </a:lnTo>
                  <a:lnTo>
                    <a:pt x="1068" y="1084"/>
                  </a:lnTo>
                  <a:lnTo>
                    <a:pt x="1046" y="1104"/>
                  </a:lnTo>
                  <a:lnTo>
                    <a:pt x="1022" y="1124"/>
                  </a:lnTo>
                  <a:lnTo>
                    <a:pt x="1000" y="1142"/>
                  </a:lnTo>
                  <a:lnTo>
                    <a:pt x="974" y="1158"/>
                  </a:lnTo>
                  <a:lnTo>
                    <a:pt x="950" y="1174"/>
                  </a:lnTo>
                  <a:lnTo>
                    <a:pt x="924" y="1188"/>
                  </a:lnTo>
                  <a:lnTo>
                    <a:pt x="896" y="1202"/>
                  </a:lnTo>
                  <a:lnTo>
                    <a:pt x="870" y="1214"/>
                  </a:lnTo>
                  <a:lnTo>
                    <a:pt x="842" y="1224"/>
                  </a:lnTo>
                  <a:lnTo>
                    <a:pt x="814" y="1234"/>
                  </a:lnTo>
                  <a:lnTo>
                    <a:pt x="786" y="1242"/>
                  </a:lnTo>
                  <a:lnTo>
                    <a:pt x="756" y="1248"/>
                  </a:lnTo>
                  <a:lnTo>
                    <a:pt x="728" y="1252"/>
                  </a:lnTo>
                  <a:lnTo>
                    <a:pt x="698" y="1256"/>
                  </a:lnTo>
                  <a:lnTo>
                    <a:pt x="670" y="1260"/>
                  </a:lnTo>
                  <a:lnTo>
                    <a:pt x="640" y="1260"/>
                  </a:lnTo>
                  <a:lnTo>
                    <a:pt x="610" y="1260"/>
                  </a:lnTo>
                  <a:lnTo>
                    <a:pt x="580" y="1258"/>
                  </a:lnTo>
                  <a:lnTo>
                    <a:pt x="552" y="1256"/>
                  </a:lnTo>
                  <a:lnTo>
                    <a:pt x="522" y="1252"/>
                  </a:lnTo>
                  <a:lnTo>
                    <a:pt x="492" y="1246"/>
                  </a:lnTo>
                  <a:lnTo>
                    <a:pt x="464" y="1238"/>
                  </a:lnTo>
                  <a:lnTo>
                    <a:pt x="434" y="1230"/>
                  </a:lnTo>
                  <a:lnTo>
                    <a:pt x="406" y="1218"/>
                  </a:lnTo>
                  <a:lnTo>
                    <a:pt x="376" y="1208"/>
                  </a:lnTo>
                  <a:lnTo>
                    <a:pt x="348" y="1194"/>
                  </a:lnTo>
                  <a:lnTo>
                    <a:pt x="322" y="1180"/>
                  </a:lnTo>
                  <a:lnTo>
                    <a:pt x="294" y="1164"/>
                  </a:lnTo>
                  <a:lnTo>
                    <a:pt x="294" y="1164"/>
                  </a:lnTo>
                  <a:lnTo>
                    <a:pt x="268" y="1146"/>
                  </a:lnTo>
                  <a:lnTo>
                    <a:pt x="242" y="1126"/>
                  </a:lnTo>
                  <a:lnTo>
                    <a:pt x="216" y="1106"/>
                  </a:lnTo>
                  <a:lnTo>
                    <a:pt x="194" y="1084"/>
                  </a:lnTo>
                  <a:lnTo>
                    <a:pt x="172" y="1062"/>
                  </a:lnTo>
                  <a:lnTo>
                    <a:pt x="150" y="1040"/>
                  </a:lnTo>
                  <a:lnTo>
                    <a:pt x="132" y="1016"/>
                  </a:lnTo>
                  <a:lnTo>
                    <a:pt x="114" y="990"/>
                  </a:lnTo>
                  <a:lnTo>
                    <a:pt x="96" y="964"/>
                  </a:lnTo>
                  <a:lnTo>
                    <a:pt x="80" y="938"/>
                  </a:lnTo>
                  <a:lnTo>
                    <a:pt x="66" y="912"/>
                  </a:lnTo>
                  <a:lnTo>
                    <a:pt x="54" y="884"/>
                  </a:lnTo>
                  <a:lnTo>
                    <a:pt x="42" y="856"/>
                  </a:lnTo>
                  <a:lnTo>
                    <a:pt x="32" y="828"/>
                  </a:lnTo>
                  <a:lnTo>
                    <a:pt x="24" y="798"/>
                  </a:lnTo>
                  <a:lnTo>
                    <a:pt x="16" y="770"/>
                  </a:lnTo>
                  <a:lnTo>
                    <a:pt x="10" y="740"/>
                  </a:lnTo>
                  <a:lnTo>
                    <a:pt x="6" y="710"/>
                  </a:lnTo>
                  <a:lnTo>
                    <a:pt x="2" y="680"/>
                  </a:lnTo>
                  <a:lnTo>
                    <a:pt x="0" y="650"/>
                  </a:lnTo>
                  <a:lnTo>
                    <a:pt x="0" y="618"/>
                  </a:lnTo>
                  <a:lnTo>
                    <a:pt x="2" y="588"/>
                  </a:lnTo>
                  <a:lnTo>
                    <a:pt x="4" y="558"/>
                  </a:lnTo>
                  <a:lnTo>
                    <a:pt x="8" y="528"/>
                  </a:lnTo>
                  <a:lnTo>
                    <a:pt x="14" y="498"/>
                  </a:lnTo>
                  <a:lnTo>
                    <a:pt x="22" y="468"/>
                  </a:lnTo>
                  <a:lnTo>
                    <a:pt x="30" y="438"/>
                  </a:lnTo>
                  <a:lnTo>
                    <a:pt x="40" y="408"/>
                  </a:lnTo>
                  <a:lnTo>
                    <a:pt x="52" y="378"/>
                  </a:lnTo>
                  <a:lnTo>
                    <a:pt x="66" y="350"/>
                  </a:lnTo>
                  <a:lnTo>
                    <a:pt x="82" y="322"/>
                  </a:lnTo>
                  <a:lnTo>
                    <a:pt x="98" y="294"/>
                  </a:lnTo>
                  <a:lnTo>
                    <a:pt x="98" y="294"/>
                  </a:lnTo>
                  <a:lnTo>
                    <a:pt x="124" y="254"/>
                  </a:lnTo>
                  <a:lnTo>
                    <a:pt x="154" y="218"/>
                  </a:lnTo>
                  <a:lnTo>
                    <a:pt x="186" y="184"/>
                  </a:lnTo>
                  <a:lnTo>
                    <a:pt x="220" y="152"/>
                  </a:lnTo>
                  <a:lnTo>
                    <a:pt x="256" y="124"/>
                  </a:lnTo>
                  <a:lnTo>
                    <a:pt x="292" y="98"/>
                  </a:lnTo>
                  <a:lnTo>
                    <a:pt x="332" y="76"/>
                  </a:lnTo>
                  <a:lnTo>
                    <a:pt x="372" y="56"/>
                  </a:lnTo>
                  <a:lnTo>
                    <a:pt x="414" y="38"/>
                  </a:lnTo>
                  <a:lnTo>
                    <a:pt x="456" y="24"/>
                  </a:lnTo>
                  <a:lnTo>
                    <a:pt x="500" y="14"/>
                  </a:lnTo>
                  <a:lnTo>
                    <a:pt x="544" y="6"/>
                  </a:lnTo>
                  <a:lnTo>
                    <a:pt x="588" y="2"/>
                  </a:lnTo>
                  <a:lnTo>
                    <a:pt x="632" y="0"/>
                  </a:lnTo>
                  <a:lnTo>
                    <a:pt x="678" y="2"/>
                  </a:lnTo>
                  <a:lnTo>
                    <a:pt x="722" y="6"/>
                  </a:lnTo>
                  <a:lnTo>
                    <a:pt x="722" y="6"/>
                  </a:lnTo>
                  <a:lnTo>
                    <a:pt x="722" y="6"/>
                  </a:lnTo>
                  <a:lnTo>
                    <a:pt x="722" y="6"/>
                  </a:lnTo>
                  <a:lnTo>
                    <a:pt x="730" y="54"/>
                  </a:lnTo>
                  <a:lnTo>
                    <a:pt x="738" y="100"/>
                  </a:lnTo>
                  <a:lnTo>
                    <a:pt x="750" y="146"/>
                  </a:lnTo>
                  <a:lnTo>
                    <a:pt x="764" y="192"/>
                  </a:lnTo>
                  <a:lnTo>
                    <a:pt x="780" y="238"/>
                  </a:lnTo>
                  <a:lnTo>
                    <a:pt x="798" y="282"/>
                  </a:lnTo>
                  <a:lnTo>
                    <a:pt x="820" y="324"/>
                  </a:lnTo>
                  <a:lnTo>
                    <a:pt x="844" y="366"/>
                  </a:lnTo>
                  <a:lnTo>
                    <a:pt x="870" y="406"/>
                  </a:lnTo>
                  <a:lnTo>
                    <a:pt x="898" y="446"/>
                  </a:lnTo>
                  <a:lnTo>
                    <a:pt x="930" y="484"/>
                  </a:lnTo>
                  <a:lnTo>
                    <a:pt x="964" y="520"/>
                  </a:lnTo>
                  <a:lnTo>
                    <a:pt x="1000" y="554"/>
                  </a:lnTo>
                  <a:lnTo>
                    <a:pt x="1038" y="588"/>
                  </a:lnTo>
                  <a:lnTo>
                    <a:pt x="1078" y="618"/>
                  </a:lnTo>
                  <a:lnTo>
                    <a:pt x="1120" y="646"/>
                  </a:lnTo>
                  <a:lnTo>
                    <a:pt x="1120" y="646"/>
                  </a:lnTo>
                  <a:lnTo>
                    <a:pt x="1158" y="670"/>
                  </a:lnTo>
                  <a:lnTo>
                    <a:pt x="1196" y="690"/>
                  </a:lnTo>
                  <a:lnTo>
                    <a:pt x="1236" y="708"/>
                  </a:lnTo>
                  <a:lnTo>
                    <a:pt x="1276" y="724"/>
                  </a:lnTo>
                  <a:lnTo>
                    <a:pt x="1316" y="738"/>
                  </a:lnTo>
                  <a:lnTo>
                    <a:pt x="1358" y="750"/>
                  </a:lnTo>
                  <a:lnTo>
                    <a:pt x="1398" y="760"/>
                  </a:lnTo>
                  <a:lnTo>
                    <a:pt x="1440" y="768"/>
                  </a:lnTo>
                  <a:lnTo>
                    <a:pt x="1480" y="774"/>
                  </a:lnTo>
                  <a:lnTo>
                    <a:pt x="1522" y="778"/>
                  </a:lnTo>
                  <a:lnTo>
                    <a:pt x="1564" y="780"/>
                  </a:lnTo>
                  <a:lnTo>
                    <a:pt x="1606" y="780"/>
                  </a:lnTo>
                  <a:lnTo>
                    <a:pt x="1646" y="776"/>
                  </a:lnTo>
                  <a:lnTo>
                    <a:pt x="1688" y="772"/>
                  </a:lnTo>
                  <a:lnTo>
                    <a:pt x="1728" y="766"/>
                  </a:lnTo>
                  <a:lnTo>
                    <a:pt x="1770" y="758"/>
                  </a:lnTo>
                  <a:lnTo>
                    <a:pt x="1810" y="748"/>
                  </a:lnTo>
                  <a:lnTo>
                    <a:pt x="1848" y="736"/>
                  </a:lnTo>
                  <a:lnTo>
                    <a:pt x="1888" y="722"/>
                  </a:lnTo>
                  <a:lnTo>
                    <a:pt x="1926" y="706"/>
                  </a:lnTo>
                  <a:lnTo>
                    <a:pt x="1964" y="690"/>
                  </a:lnTo>
                  <a:lnTo>
                    <a:pt x="2000" y="670"/>
                  </a:lnTo>
                  <a:lnTo>
                    <a:pt x="2036" y="648"/>
                  </a:lnTo>
                  <a:lnTo>
                    <a:pt x="2072" y="626"/>
                  </a:lnTo>
                  <a:lnTo>
                    <a:pt x="2106" y="600"/>
                  </a:lnTo>
                  <a:lnTo>
                    <a:pt x="2138" y="574"/>
                  </a:lnTo>
                  <a:lnTo>
                    <a:pt x="2170" y="546"/>
                  </a:lnTo>
                  <a:lnTo>
                    <a:pt x="2200" y="516"/>
                  </a:lnTo>
                  <a:lnTo>
                    <a:pt x="2230" y="484"/>
                  </a:lnTo>
                  <a:lnTo>
                    <a:pt x="2256" y="450"/>
                  </a:lnTo>
                  <a:lnTo>
                    <a:pt x="2284" y="414"/>
                  </a:lnTo>
                  <a:lnTo>
                    <a:pt x="2308" y="378"/>
                  </a:lnTo>
                  <a:lnTo>
                    <a:pt x="2308" y="378"/>
                  </a:lnTo>
                  <a:lnTo>
                    <a:pt x="2324" y="350"/>
                  </a:lnTo>
                  <a:lnTo>
                    <a:pt x="2340" y="322"/>
                  </a:lnTo>
                  <a:lnTo>
                    <a:pt x="2356" y="292"/>
                  </a:lnTo>
                  <a:lnTo>
                    <a:pt x="2368" y="262"/>
                  </a:lnTo>
                  <a:lnTo>
                    <a:pt x="2392" y="204"/>
                  </a:lnTo>
                  <a:lnTo>
                    <a:pt x="2412" y="144"/>
                  </a:lnTo>
                  <a:lnTo>
                    <a:pt x="2412" y="144"/>
                  </a:lnTo>
                  <a:lnTo>
                    <a:pt x="2414" y="178"/>
                  </a:lnTo>
                  <a:lnTo>
                    <a:pt x="2416" y="212"/>
                  </a:lnTo>
                  <a:lnTo>
                    <a:pt x="2416" y="248"/>
                  </a:lnTo>
                  <a:lnTo>
                    <a:pt x="2414" y="282"/>
                  </a:lnTo>
                  <a:lnTo>
                    <a:pt x="2412" y="318"/>
                  </a:lnTo>
                  <a:lnTo>
                    <a:pt x="2406" y="352"/>
                  </a:lnTo>
                  <a:lnTo>
                    <a:pt x="2402" y="388"/>
                  </a:lnTo>
                  <a:lnTo>
                    <a:pt x="2394" y="422"/>
                  </a:lnTo>
                  <a:lnTo>
                    <a:pt x="2386" y="456"/>
                  </a:lnTo>
                  <a:lnTo>
                    <a:pt x="2376" y="492"/>
                  </a:lnTo>
                  <a:lnTo>
                    <a:pt x="2364" y="526"/>
                  </a:lnTo>
                  <a:lnTo>
                    <a:pt x="2350" y="560"/>
                  </a:lnTo>
                  <a:lnTo>
                    <a:pt x="2336" y="592"/>
                  </a:lnTo>
                  <a:lnTo>
                    <a:pt x="2320" y="626"/>
                  </a:lnTo>
                  <a:lnTo>
                    <a:pt x="2302" y="658"/>
                  </a:lnTo>
                  <a:lnTo>
                    <a:pt x="2282" y="690"/>
                  </a:lnTo>
                  <a:lnTo>
                    <a:pt x="2282" y="69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34CF8403-329D-5AE5-A81C-63CE4D8BA8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8898" y="989982"/>
              <a:ext cx="2615694" cy="3445284"/>
            </a:xfrm>
            <a:custGeom>
              <a:avLst/>
              <a:gdLst>
                <a:gd name="T0" fmla="*/ 1050 w 1690"/>
                <a:gd name="T1" fmla="*/ 2184 h 2226"/>
                <a:gd name="T2" fmla="*/ 900 w 1690"/>
                <a:gd name="T3" fmla="*/ 2118 h 2226"/>
                <a:gd name="T4" fmla="*/ 768 w 1690"/>
                <a:gd name="T5" fmla="*/ 2026 h 2226"/>
                <a:gd name="T6" fmla="*/ 656 w 1690"/>
                <a:gd name="T7" fmla="*/ 1914 h 2226"/>
                <a:gd name="T8" fmla="*/ 566 w 1690"/>
                <a:gd name="T9" fmla="*/ 1784 h 2226"/>
                <a:gd name="T10" fmla="*/ 502 w 1690"/>
                <a:gd name="T11" fmla="*/ 1640 h 2226"/>
                <a:gd name="T12" fmla="*/ 466 w 1690"/>
                <a:gd name="T13" fmla="*/ 1484 h 2226"/>
                <a:gd name="T14" fmla="*/ 458 w 1690"/>
                <a:gd name="T15" fmla="*/ 1322 h 2226"/>
                <a:gd name="T16" fmla="*/ 436 w 1690"/>
                <a:gd name="T17" fmla="*/ 1230 h 2226"/>
                <a:gd name="T18" fmla="*/ 324 w 1690"/>
                <a:gd name="T19" fmla="*/ 1182 h 2226"/>
                <a:gd name="T20" fmla="*/ 226 w 1690"/>
                <a:gd name="T21" fmla="*/ 1114 h 2226"/>
                <a:gd name="T22" fmla="*/ 142 w 1690"/>
                <a:gd name="T23" fmla="*/ 1030 h 2226"/>
                <a:gd name="T24" fmla="*/ 76 w 1690"/>
                <a:gd name="T25" fmla="*/ 932 h 2226"/>
                <a:gd name="T26" fmla="*/ 30 w 1690"/>
                <a:gd name="T27" fmla="*/ 824 h 2226"/>
                <a:gd name="T28" fmla="*/ 4 w 1690"/>
                <a:gd name="T29" fmla="*/ 708 h 2226"/>
                <a:gd name="T30" fmla="*/ 0 w 1690"/>
                <a:gd name="T31" fmla="*/ 586 h 2226"/>
                <a:gd name="T32" fmla="*/ 14 w 1690"/>
                <a:gd name="T33" fmla="*/ 494 h 2226"/>
                <a:gd name="T34" fmla="*/ 54 w 1690"/>
                <a:gd name="T35" fmla="*/ 372 h 2226"/>
                <a:gd name="T36" fmla="*/ 116 w 1690"/>
                <a:gd name="T37" fmla="*/ 266 h 2226"/>
                <a:gd name="T38" fmla="*/ 196 w 1690"/>
                <a:gd name="T39" fmla="*/ 174 h 2226"/>
                <a:gd name="T40" fmla="*/ 290 w 1690"/>
                <a:gd name="T41" fmla="*/ 100 h 2226"/>
                <a:gd name="T42" fmla="*/ 398 w 1690"/>
                <a:gd name="T43" fmla="*/ 44 h 2226"/>
                <a:gd name="T44" fmla="*/ 516 w 1690"/>
                <a:gd name="T45" fmla="*/ 10 h 2226"/>
                <a:gd name="T46" fmla="*/ 640 w 1690"/>
                <a:gd name="T47" fmla="*/ 0 h 2226"/>
                <a:gd name="T48" fmla="*/ 766 w 1690"/>
                <a:gd name="T49" fmla="*/ 16 h 2226"/>
                <a:gd name="T50" fmla="*/ 900 w 1690"/>
                <a:gd name="T51" fmla="*/ 62 h 2226"/>
                <a:gd name="T52" fmla="*/ 1050 w 1690"/>
                <a:gd name="T53" fmla="*/ 162 h 2226"/>
                <a:gd name="T54" fmla="*/ 1164 w 1690"/>
                <a:gd name="T55" fmla="*/ 298 h 2226"/>
                <a:gd name="T56" fmla="*/ 1236 w 1690"/>
                <a:gd name="T57" fmla="*/ 462 h 2226"/>
                <a:gd name="T58" fmla="*/ 1248 w 1690"/>
                <a:gd name="T59" fmla="*/ 506 h 2226"/>
                <a:gd name="T60" fmla="*/ 1086 w 1690"/>
                <a:gd name="T61" fmla="*/ 608 h 2226"/>
                <a:gd name="T62" fmla="*/ 950 w 1690"/>
                <a:gd name="T63" fmla="*/ 742 h 2226"/>
                <a:gd name="T64" fmla="*/ 846 w 1690"/>
                <a:gd name="T65" fmla="*/ 906 h 2226"/>
                <a:gd name="T66" fmla="*/ 780 w 1690"/>
                <a:gd name="T67" fmla="*/ 1096 h 2226"/>
                <a:gd name="T68" fmla="*/ 760 w 1690"/>
                <a:gd name="T69" fmla="*/ 1226 h 2226"/>
                <a:gd name="T70" fmla="*/ 766 w 1690"/>
                <a:gd name="T71" fmla="*/ 1396 h 2226"/>
                <a:gd name="T72" fmla="*/ 804 w 1690"/>
                <a:gd name="T73" fmla="*/ 1560 h 2226"/>
                <a:gd name="T74" fmla="*/ 872 w 1690"/>
                <a:gd name="T75" fmla="*/ 1710 h 2226"/>
                <a:gd name="T76" fmla="*/ 968 w 1690"/>
                <a:gd name="T77" fmla="*/ 1846 h 2226"/>
                <a:gd name="T78" fmla="*/ 1088 w 1690"/>
                <a:gd name="T79" fmla="*/ 1960 h 2226"/>
                <a:gd name="T80" fmla="*/ 1230 w 1690"/>
                <a:gd name="T81" fmla="*/ 2050 h 2226"/>
                <a:gd name="T82" fmla="*/ 1390 w 1690"/>
                <a:gd name="T83" fmla="*/ 2114 h 2226"/>
                <a:gd name="T84" fmla="*/ 1498 w 1690"/>
                <a:gd name="T85" fmla="*/ 2136 h 2226"/>
                <a:gd name="T86" fmla="*/ 1690 w 1690"/>
                <a:gd name="T87" fmla="*/ 2142 h 2226"/>
                <a:gd name="T88" fmla="*/ 1592 w 1690"/>
                <a:gd name="T89" fmla="*/ 2182 h 2226"/>
                <a:gd name="T90" fmla="*/ 1456 w 1690"/>
                <a:gd name="T91" fmla="*/ 2214 h 2226"/>
                <a:gd name="T92" fmla="*/ 1314 w 1690"/>
                <a:gd name="T93" fmla="*/ 2226 h 2226"/>
                <a:gd name="T94" fmla="*/ 1168 w 1690"/>
                <a:gd name="T95" fmla="*/ 2212 h 2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690" h="2226">
                  <a:moveTo>
                    <a:pt x="1132" y="2206"/>
                  </a:moveTo>
                  <a:lnTo>
                    <a:pt x="1132" y="2206"/>
                  </a:lnTo>
                  <a:lnTo>
                    <a:pt x="1090" y="2196"/>
                  </a:lnTo>
                  <a:lnTo>
                    <a:pt x="1050" y="2184"/>
                  </a:lnTo>
                  <a:lnTo>
                    <a:pt x="1010" y="2170"/>
                  </a:lnTo>
                  <a:lnTo>
                    <a:pt x="972" y="2154"/>
                  </a:lnTo>
                  <a:lnTo>
                    <a:pt x="936" y="2136"/>
                  </a:lnTo>
                  <a:lnTo>
                    <a:pt x="900" y="2118"/>
                  </a:lnTo>
                  <a:lnTo>
                    <a:pt x="864" y="2098"/>
                  </a:lnTo>
                  <a:lnTo>
                    <a:pt x="830" y="2076"/>
                  </a:lnTo>
                  <a:lnTo>
                    <a:pt x="798" y="2052"/>
                  </a:lnTo>
                  <a:lnTo>
                    <a:pt x="768" y="2026"/>
                  </a:lnTo>
                  <a:lnTo>
                    <a:pt x="738" y="2000"/>
                  </a:lnTo>
                  <a:lnTo>
                    <a:pt x="708" y="1974"/>
                  </a:lnTo>
                  <a:lnTo>
                    <a:pt x="682" y="1944"/>
                  </a:lnTo>
                  <a:lnTo>
                    <a:pt x="656" y="1914"/>
                  </a:lnTo>
                  <a:lnTo>
                    <a:pt x="630" y="1884"/>
                  </a:lnTo>
                  <a:lnTo>
                    <a:pt x="608" y="1852"/>
                  </a:lnTo>
                  <a:lnTo>
                    <a:pt x="586" y="1818"/>
                  </a:lnTo>
                  <a:lnTo>
                    <a:pt x="566" y="1784"/>
                  </a:lnTo>
                  <a:lnTo>
                    <a:pt x="548" y="1750"/>
                  </a:lnTo>
                  <a:lnTo>
                    <a:pt x="530" y="1714"/>
                  </a:lnTo>
                  <a:lnTo>
                    <a:pt x="516" y="1676"/>
                  </a:lnTo>
                  <a:lnTo>
                    <a:pt x="502" y="1640"/>
                  </a:lnTo>
                  <a:lnTo>
                    <a:pt x="490" y="1602"/>
                  </a:lnTo>
                  <a:lnTo>
                    <a:pt x="480" y="1564"/>
                  </a:lnTo>
                  <a:lnTo>
                    <a:pt x="472" y="1524"/>
                  </a:lnTo>
                  <a:lnTo>
                    <a:pt x="466" y="1484"/>
                  </a:lnTo>
                  <a:lnTo>
                    <a:pt x="460" y="1444"/>
                  </a:lnTo>
                  <a:lnTo>
                    <a:pt x="458" y="1404"/>
                  </a:lnTo>
                  <a:lnTo>
                    <a:pt x="456" y="1362"/>
                  </a:lnTo>
                  <a:lnTo>
                    <a:pt x="458" y="1322"/>
                  </a:lnTo>
                  <a:lnTo>
                    <a:pt x="462" y="1280"/>
                  </a:lnTo>
                  <a:lnTo>
                    <a:pt x="466" y="1240"/>
                  </a:lnTo>
                  <a:lnTo>
                    <a:pt x="466" y="1240"/>
                  </a:lnTo>
                  <a:lnTo>
                    <a:pt x="436" y="1230"/>
                  </a:lnTo>
                  <a:lnTo>
                    <a:pt x="406" y="1220"/>
                  </a:lnTo>
                  <a:lnTo>
                    <a:pt x="378" y="1208"/>
                  </a:lnTo>
                  <a:lnTo>
                    <a:pt x="350" y="1196"/>
                  </a:lnTo>
                  <a:lnTo>
                    <a:pt x="324" y="1182"/>
                  </a:lnTo>
                  <a:lnTo>
                    <a:pt x="298" y="1166"/>
                  </a:lnTo>
                  <a:lnTo>
                    <a:pt x="272" y="1150"/>
                  </a:lnTo>
                  <a:lnTo>
                    <a:pt x="248" y="1132"/>
                  </a:lnTo>
                  <a:lnTo>
                    <a:pt x="226" y="1114"/>
                  </a:lnTo>
                  <a:lnTo>
                    <a:pt x="202" y="1094"/>
                  </a:lnTo>
                  <a:lnTo>
                    <a:pt x="182" y="1074"/>
                  </a:lnTo>
                  <a:lnTo>
                    <a:pt x="162" y="1052"/>
                  </a:lnTo>
                  <a:lnTo>
                    <a:pt x="142" y="1030"/>
                  </a:lnTo>
                  <a:lnTo>
                    <a:pt x="124" y="1006"/>
                  </a:lnTo>
                  <a:lnTo>
                    <a:pt x="106" y="982"/>
                  </a:lnTo>
                  <a:lnTo>
                    <a:pt x="92" y="958"/>
                  </a:lnTo>
                  <a:lnTo>
                    <a:pt x="76" y="932"/>
                  </a:lnTo>
                  <a:lnTo>
                    <a:pt x="62" y="906"/>
                  </a:lnTo>
                  <a:lnTo>
                    <a:pt x="50" y="880"/>
                  </a:lnTo>
                  <a:lnTo>
                    <a:pt x="40" y="852"/>
                  </a:lnTo>
                  <a:lnTo>
                    <a:pt x="30" y="824"/>
                  </a:lnTo>
                  <a:lnTo>
                    <a:pt x="22" y="796"/>
                  </a:lnTo>
                  <a:lnTo>
                    <a:pt x="14" y="768"/>
                  </a:lnTo>
                  <a:lnTo>
                    <a:pt x="8" y="738"/>
                  </a:lnTo>
                  <a:lnTo>
                    <a:pt x="4" y="708"/>
                  </a:lnTo>
                  <a:lnTo>
                    <a:pt x="0" y="678"/>
                  </a:lnTo>
                  <a:lnTo>
                    <a:pt x="0" y="648"/>
                  </a:lnTo>
                  <a:lnTo>
                    <a:pt x="0" y="618"/>
                  </a:lnTo>
                  <a:lnTo>
                    <a:pt x="0" y="586"/>
                  </a:lnTo>
                  <a:lnTo>
                    <a:pt x="4" y="556"/>
                  </a:lnTo>
                  <a:lnTo>
                    <a:pt x="8" y="526"/>
                  </a:lnTo>
                  <a:lnTo>
                    <a:pt x="14" y="494"/>
                  </a:lnTo>
                  <a:lnTo>
                    <a:pt x="14" y="494"/>
                  </a:lnTo>
                  <a:lnTo>
                    <a:pt x="22" y="462"/>
                  </a:lnTo>
                  <a:lnTo>
                    <a:pt x="32" y="432"/>
                  </a:lnTo>
                  <a:lnTo>
                    <a:pt x="42" y="402"/>
                  </a:lnTo>
                  <a:lnTo>
                    <a:pt x="54" y="372"/>
                  </a:lnTo>
                  <a:lnTo>
                    <a:pt x="68" y="344"/>
                  </a:lnTo>
                  <a:lnTo>
                    <a:pt x="82" y="318"/>
                  </a:lnTo>
                  <a:lnTo>
                    <a:pt x="98" y="290"/>
                  </a:lnTo>
                  <a:lnTo>
                    <a:pt x="116" y="266"/>
                  </a:lnTo>
                  <a:lnTo>
                    <a:pt x="134" y="240"/>
                  </a:lnTo>
                  <a:lnTo>
                    <a:pt x="154" y="218"/>
                  </a:lnTo>
                  <a:lnTo>
                    <a:pt x="174" y="194"/>
                  </a:lnTo>
                  <a:lnTo>
                    <a:pt x="196" y="174"/>
                  </a:lnTo>
                  <a:lnTo>
                    <a:pt x="218" y="154"/>
                  </a:lnTo>
                  <a:lnTo>
                    <a:pt x="242" y="134"/>
                  </a:lnTo>
                  <a:lnTo>
                    <a:pt x="266" y="116"/>
                  </a:lnTo>
                  <a:lnTo>
                    <a:pt x="290" y="100"/>
                  </a:lnTo>
                  <a:lnTo>
                    <a:pt x="316" y="84"/>
                  </a:lnTo>
                  <a:lnTo>
                    <a:pt x="344" y="70"/>
                  </a:lnTo>
                  <a:lnTo>
                    <a:pt x="370" y="56"/>
                  </a:lnTo>
                  <a:lnTo>
                    <a:pt x="398" y="44"/>
                  </a:lnTo>
                  <a:lnTo>
                    <a:pt x="428" y="34"/>
                  </a:lnTo>
                  <a:lnTo>
                    <a:pt x="456" y="24"/>
                  </a:lnTo>
                  <a:lnTo>
                    <a:pt x="486" y="16"/>
                  </a:lnTo>
                  <a:lnTo>
                    <a:pt x="516" y="10"/>
                  </a:lnTo>
                  <a:lnTo>
                    <a:pt x="546" y="6"/>
                  </a:lnTo>
                  <a:lnTo>
                    <a:pt x="576" y="2"/>
                  </a:lnTo>
                  <a:lnTo>
                    <a:pt x="608" y="0"/>
                  </a:lnTo>
                  <a:lnTo>
                    <a:pt x="640" y="0"/>
                  </a:lnTo>
                  <a:lnTo>
                    <a:pt x="670" y="2"/>
                  </a:lnTo>
                  <a:lnTo>
                    <a:pt x="702" y="4"/>
                  </a:lnTo>
                  <a:lnTo>
                    <a:pt x="734" y="10"/>
                  </a:lnTo>
                  <a:lnTo>
                    <a:pt x="766" y="16"/>
                  </a:lnTo>
                  <a:lnTo>
                    <a:pt x="766" y="16"/>
                  </a:lnTo>
                  <a:lnTo>
                    <a:pt x="812" y="28"/>
                  </a:lnTo>
                  <a:lnTo>
                    <a:pt x="856" y="42"/>
                  </a:lnTo>
                  <a:lnTo>
                    <a:pt x="900" y="62"/>
                  </a:lnTo>
                  <a:lnTo>
                    <a:pt x="940" y="82"/>
                  </a:lnTo>
                  <a:lnTo>
                    <a:pt x="980" y="106"/>
                  </a:lnTo>
                  <a:lnTo>
                    <a:pt x="1016" y="132"/>
                  </a:lnTo>
                  <a:lnTo>
                    <a:pt x="1050" y="162"/>
                  </a:lnTo>
                  <a:lnTo>
                    <a:pt x="1082" y="192"/>
                  </a:lnTo>
                  <a:lnTo>
                    <a:pt x="1112" y="226"/>
                  </a:lnTo>
                  <a:lnTo>
                    <a:pt x="1140" y="262"/>
                  </a:lnTo>
                  <a:lnTo>
                    <a:pt x="1164" y="298"/>
                  </a:lnTo>
                  <a:lnTo>
                    <a:pt x="1188" y="338"/>
                  </a:lnTo>
                  <a:lnTo>
                    <a:pt x="1206" y="378"/>
                  </a:lnTo>
                  <a:lnTo>
                    <a:pt x="1224" y="420"/>
                  </a:lnTo>
                  <a:lnTo>
                    <a:pt x="1236" y="462"/>
                  </a:lnTo>
                  <a:lnTo>
                    <a:pt x="1248" y="506"/>
                  </a:lnTo>
                  <a:lnTo>
                    <a:pt x="1248" y="506"/>
                  </a:lnTo>
                  <a:lnTo>
                    <a:pt x="1248" y="506"/>
                  </a:lnTo>
                  <a:lnTo>
                    <a:pt x="1248" y="506"/>
                  </a:lnTo>
                  <a:lnTo>
                    <a:pt x="1206" y="528"/>
                  </a:lnTo>
                  <a:lnTo>
                    <a:pt x="1164" y="552"/>
                  </a:lnTo>
                  <a:lnTo>
                    <a:pt x="1124" y="578"/>
                  </a:lnTo>
                  <a:lnTo>
                    <a:pt x="1086" y="608"/>
                  </a:lnTo>
                  <a:lnTo>
                    <a:pt x="1050" y="638"/>
                  </a:lnTo>
                  <a:lnTo>
                    <a:pt x="1014" y="670"/>
                  </a:lnTo>
                  <a:lnTo>
                    <a:pt x="982" y="706"/>
                  </a:lnTo>
                  <a:lnTo>
                    <a:pt x="950" y="742"/>
                  </a:lnTo>
                  <a:lnTo>
                    <a:pt x="920" y="780"/>
                  </a:lnTo>
                  <a:lnTo>
                    <a:pt x="894" y="820"/>
                  </a:lnTo>
                  <a:lnTo>
                    <a:pt x="868" y="862"/>
                  </a:lnTo>
                  <a:lnTo>
                    <a:pt x="846" y="906"/>
                  </a:lnTo>
                  <a:lnTo>
                    <a:pt x="826" y="952"/>
                  </a:lnTo>
                  <a:lnTo>
                    <a:pt x="808" y="998"/>
                  </a:lnTo>
                  <a:lnTo>
                    <a:pt x="792" y="1046"/>
                  </a:lnTo>
                  <a:lnTo>
                    <a:pt x="780" y="1096"/>
                  </a:lnTo>
                  <a:lnTo>
                    <a:pt x="780" y="1096"/>
                  </a:lnTo>
                  <a:lnTo>
                    <a:pt x="770" y="1140"/>
                  </a:lnTo>
                  <a:lnTo>
                    <a:pt x="764" y="1184"/>
                  </a:lnTo>
                  <a:lnTo>
                    <a:pt x="760" y="1226"/>
                  </a:lnTo>
                  <a:lnTo>
                    <a:pt x="758" y="1270"/>
                  </a:lnTo>
                  <a:lnTo>
                    <a:pt x="760" y="1312"/>
                  </a:lnTo>
                  <a:lnTo>
                    <a:pt x="762" y="1354"/>
                  </a:lnTo>
                  <a:lnTo>
                    <a:pt x="766" y="1396"/>
                  </a:lnTo>
                  <a:lnTo>
                    <a:pt x="772" y="1438"/>
                  </a:lnTo>
                  <a:lnTo>
                    <a:pt x="782" y="1480"/>
                  </a:lnTo>
                  <a:lnTo>
                    <a:pt x="792" y="1520"/>
                  </a:lnTo>
                  <a:lnTo>
                    <a:pt x="804" y="1560"/>
                  </a:lnTo>
                  <a:lnTo>
                    <a:pt x="818" y="1598"/>
                  </a:lnTo>
                  <a:lnTo>
                    <a:pt x="834" y="1636"/>
                  </a:lnTo>
                  <a:lnTo>
                    <a:pt x="852" y="1674"/>
                  </a:lnTo>
                  <a:lnTo>
                    <a:pt x="872" y="1710"/>
                  </a:lnTo>
                  <a:lnTo>
                    <a:pt x="894" y="1746"/>
                  </a:lnTo>
                  <a:lnTo>
                    <a:pt x="916" y="1780"/>
                  </a:lnTo>
                  <a:lnTo>
                    <a:pt x="942" y="1814"/>
                  </a:lnTo>
                  <a:lnTo>
                    <a:pt x="968" y="1846"/>
                  </a:lnTo>
                  <a:lnTo>
                    <a:pt x="996" y="1876"/>
                  </a:lnTo>
                  <a:lnTo>
                    <a:pt x="1024" y="1906"/>
                  </a:lnTo>
                  <a:lnTo>
                    <a:pt x="1056" y="1934"/>
                  </a:lnTo>
                  <a:lnTo>
                    <a:pt x="1088" y="1960"/>
                  </a:lnTo>
                  <a:lnTo>
                    <a:pt x="1120" y="1986"/>
                  </a:lnTo>
                  <a:lnTo>
                    <a:pt x="1156" y="2008"/>
                  </a:lnTo>
                  <a:lnTo>
                    <a:pt x="1192" y="2030"/>
                  </a:lnTo>
                  <a:lnTo>
                    <a:pt x="1230" y="2050"/>
                  </a:lnTo>
                  <a:lnTo>
                    <a:pt x="1268" y="2070"/>
                  </a:lnTo>
                  <a:lnTo>
                    <a:pt x="1308" y="2086"/>
                  </a:lnTo>
                  <a:lnTo>
                    <a:pt x="1348" y="2100"/>
                  </a:lnTo>
                  <a:lnTo>
                    <a:pt x="1390" y="2114"/>
                  </a:lnTo>
                  <a:lnTo>
                    <a:pt x="1434" y="2124"/>
                  </a:lnTo>
                  <a:lnTo>
                    <a:pt x="1434" y="2124"/>
                  </a:lnTo>
                  <a:lnTo>
                    <a:pt x="1466" y="2130"/>
                  </a:lnTo>
                  <a:lnTo>
                    <a:pt x="1498" y="2136"/>
                  </a:lnTo>
                  <a:lnTo>
                    <a:pt x="1530" y="2140"/>
                  </a:lnTo>
                  <a:lnTo>
                    <a:pt x="1562" y="2142"/>
                  </a:lnTo>
                  <a:lnTo>
                    <a:pt x="1626" y="2144"/>
                  </a:lnTo>
                  <a:lnTo>
                    <a:pt x="1690" y="2142"/>
                  </a:lnTo>
                  <a:lnTo>
                    <a:pt x="1690" y="2142"/>
                  </a:lnTo>
                  <a:lnTo>
                    <a:pt x="1658" y="2156"/>
                  </a:lnTo>
                  <a:lnTo>
                    <a:pt x="1626" y="2170"/>
                  </a:lnTo>
                  <a:lnTo>
                    <a:pt x="1592" y="2182"/>
                  </a:lnTo>
                  <a:lnTo>
                    <a:pt x="1560" y="2192"/>
                  </a:lnTo>
                  <a:lnTo>
                    <a:pt x="1526" y="2200"/>
                  </a:lnTo>
                  <a:lnTo>
                    <a:pt x="1490" y="2208"/>
                  </a:lnTo>
                  <a:lnTo>
                    <a:pt x="1456" y="2214"/>
                  </a:lnTo>
                  <a:lnTo>
                    <a:pt x="1422" y="2220"/>
                  </a:lnTo>
                  <a:lnTo>
                    <a:pt x="1386" y="2224"/>
                  </a:lnTo>
                  <a:lnTo>
                    <a:pt x="1350" y="2226"/>
                  </a:lnTo>
                  <a:lnTo>
                    <a:pt x="1314" y="2226"/>
                  </a:lnTo>
                  <a:lnTo>
                    <a:pt x="1278" y="2226"/>
                  </a:lnTo>
                  <a:lnTo>
                    <a:pt x="1242" y="2222"/>
                  </a:lnTo>
                  <a:lnTo>
                    <a:pt x="1204" y="2218"/>
                  </a:lnTo>
                  <a:lnTo>
                    <a:pt x="1168" y="2212"/>
                  </a:lnTo>
                  <a:lnTo>
                    <a:pt x="1132" y="2206"/>
                  </a:lnTo>
                  <a:lnTo>
                    <a:pt x="1132" y="220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1 Título">
              <a:extLst>
                <a:ext uri="{FF2B5EF4-FFF2-40B4-BE49-F238E27FC236}">
                  <a16:creationId xmlns:a16="http://schemas.microsoft.com/office/drawing/2014/main" id="{636B07E2-7E96-E88D-C536-1963E55D1B22}"/>
                </a:ext>
              </a:extLst>
            </p:cNvPr>
            <p:cNvSpPr txBox="1">
              <a:spLocks/>
            </p:cNvSpPr>
            <p:nvPr/>
          </p:nvSpPr>
          <p:spPr>
            <a:xfrm>
              <a:off x="3852448" y="1374315"/>
              <a:ext cx="1793481" cy="948004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lIns="102393" tIns="51197" rIns="102393" bIns="51197" rtlCol="0" anchor="t">
              <a:noAutofit/>
            </a:bodyPr>
            <a:lstStyle/>
            <a:p>
              <a:pPr algn="ctr" defTabSz="1023935">
                <a:spcBef>
                  <a:spcPct val="0"/>
                </a:spcBef>
                <a:defRPr/>
              </a:pPr>
              <a:r>
                <a:rPr lang="es-ES" sz="1400" b="1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ea typeface="+mj-ea"/>
                  <a:cs typeface="+mj-cs"/>
                </a:rPr>
                <a:t>TEXT</a:t>
              </a:r>
              <a:endParaRPr lang="en-US" sz="1400" b="1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ea typeface="+mj-ea"/>
                <a:cs typeface="+mj-cs"/>
              </a:endParaRPr>
            </a:p>
          </p:txBody>
        </p:sp>
        <p:sp>
          <p:nvSpPr>
            <p:cNvPr id="12" name="1 Título">
              <a:extLst>
                <a:ext uri="{FF2B5EF4-FFF2-40B4-BE49-F238E27FC236}">
                  <a16:creationId xmlns:a16="http://schemas.microsoft.com/office/drawing/2014/main" id="{93CF2EE9-67F8-6317-7442-3E51CF6EC77D}"/>
                </a:ext>
              </a:extLst>
            </p:cNvPr>
            <p:cNvSpPr txBox="1">
              <a:spLocks/>
            </p:cNvSpPr>
            <p:nvPr/>
          </p:nvSpPr>
          <p:spPr>
            <a:xfrm>
              <a:off x="6333577" y="1307423"/>
              <a:ext cx="1953160" cy="567381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lIns="102393" tIns="51197" rIns="102393" bIns="51197" rtlCol="0" anchor="t">
              <a:noAutofit/>
            </a:bodyPr>
            <a:lstStyle/>
            <a:p>
              <a:pPr algn="ctr" defTabSz="1023935">
                <a:spcBef>
                  <a:spcPct val="0"/>
                </a:spcBef>
                <a:defRPr/>
              </a:pPr>
              <a:r>
                <a:rPr lang="es-ES" sz="1400" b="1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TEXT</a:t>
              </a:r>
              <a:endParaRPr lang="en-US" sz="1400" b="1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13" name="1 Título">
              <a:extLst>
                <a:ext uri="{FF2B5EF4-FFF2-40B4-BE49-F238E27FC236}">
                  <a16:creationId xmlns:a16="http://schemas.microsoft.com/office/drawing/2014/main" id="{65865DF1-0E77-E1DA-867A-B7E05509F608}"/>
                </a:ext>
              </a:extLst>
            </p:cNvPr>
            <p:cNvSpPr txBox="1">
              <a:spLocks/>
            </p:cNvSpPr>
            <p:nvPr/>
          </p:nvSpPr>
          <p:spPr>
            <a:xfrm>
              <a:off x="7475911" y="3698769"/>
              <a:ext cx="1590089" cy="966564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lIns="102393" tIns="51197" rIns="102393" bIns="51197" rtlCol="0" anchor="t">
              <a:noAutofit/>
            </a:bodyPr>
            <a:lstStyle/>
            <a:p>
              <a:pPr algn="ctr" defTabSz="1023935">
                <a:spcBef>
                  <a:spcPct val="0"/>
                </a:spcBef>
                <a:defRPr/>
              </a:pPr>
              <a:r>
                <a:rPr lang="es-ES" sz="1400" b="1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TEXT</a:t>
              </a:r>
              <a:endParaRPr lang="en-US" sz="1400" b="1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14" name="1 Título">
              <a:extLst>
                <a:ext uri="{FF2B5EF4-FFF2-40B4-BE49-F238E27FC236}">
                  <a16:creationId xmlns:a16="http://schemas.microsoft.com/office/drawing/2014/main" id="{6EB9D63D-D77E-6E75-6647-4CBFF76AA85A}"/>
                </a:ext>
              </a:extLst>
            </p:cNvPr>
            <p:cNvSpPr txBox="1">
              <a:spLocks/>
            </p:cNvSpPr>
            <p:nvPr/>
          </p:nvSpPr>
          <p:spPr>
            <a:xfrm>
              <a:off x="5352437" y="5402604"/>
              <a:ext cx="1655053" cy="948004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lIns="102393" tIns="51197" rIns="102393" bIns="51197" rtlCol="0" anchor="t">
              <a:noAutofit/>
            </a:bodyPr>
            <a:lstStyle/>
            <a:p>
              <a:pPr algn="ctr" defTabSz="1023935">
                <a:spcBef>
                  <a:spcPct val="0"/>
                </a:spcBef>
                <a:defRPr/>
              </a:pPr>
              <a:r>
                <a:rPr lang="es-ES" sz="1400" b="1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TEXT</a:t>
              </a:r>
              <a:endParaRPr lang="en-US" sz="1400" b="1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15" name="1 Título">
              <a:extLst>
                <a:ext uri="{FF2B5EF4-FFF2-40B4-BE49-F238E27FC236}">
                  <a16:creationId xmlns:a16="http://schemas.microsoft.com/office/drawing/2014/main" id="{C5EA65DE-F077-C656-BC40-3FB66D9568BC}"/>
                </a:ext>
              </a:extLst>
            </p:cNvPr>
            <p:cNvSpPr txBox="1">
              <a:spLocks/>
            </p:cNvSpPr>
            <p:nvPr/>
          </p:nvSpPr>
          <p:spPr>
            <a:xfrm>
              <a:off x="3126000" y="4073093"/>
              <a:ext cx="2111479" cy="474002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lIns="102393" tIns="51197" rIns="102393" bIns="51197" rtlCol="0" anchor="t">
              <a:noAutofit/>
            </a:bodyPr>
            <a:lstStyle/>
            <a:p>
              <a:pPr algn="ctr" defTabSz="1023935">
                <a:spcBef>
                  <a:spcPct val="0"/>
                </a:spcBef>
                <a:defRPr/>
              </a:pPr>
              <a:r>
                <a:rPr lang="es-ES" sz="1400" b="1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TEXT</a:t>
              </a:r>
              <a:endParaRPr lang="en-US" sz="1400" b="1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16" name="1 Título">
              <a:extLst>
                <a:ext uri="{FF2B5EF4-FFF2-40B4-BE49-F238E27FC236}">
                  <a16:creationId xmlns:a16="http://schemas.microsoft.com/office/drawing/2014/main" id="{50EB7D0D-EF84-7E1D-3A1E-0BBF2B3821C7}"/>
                </a:ext>
              </a:extLst>
            </p:cNvPr>
            <p:cNvSpPr txBox="1">
              <a:spLocks/>
            </p:cNvSpPr>
            <p:nvPr/>
          </p:nvSpPr>
          <p:spPr>
            <a:xfrm>
              <a:off x="5303516" y="3125090"/>
              <a:ext cx="1655053" cy="948004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lIns="102393" tIns="51197" rIns="102393" bIns="51197" rtlCol="0" anchor="t">
              <a:noAutofit/>
            </a:bodyPr>
            <a:lstStyle/>
            <a:p>
              <a:pPr algn="ctr" defTabSz="1023935">
                <a:spcBef>
                  <a:spcPct val="0"/>
                </a:spcBef>
                <a:defRPr/>
              </a:pPr>
              <a:r>
                <a:rPr lang="es-ES" sz="3000" b="1" dirty="0">
                  <a:solidFill>
                    <a:schemeClr val="accent5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ea typeface="+mj-ea"/>
                  <a:cs typeface="+mj-cs"/>
                </a:rPr>
                <a:t>TEXT</a:t>
              </a:r>
              <a:endParaRPr lang="en-US" sz="1600" b="1" dirty="0">
                <a:solidFill>
                  <a:schemeClr val="accent5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+mj-ea"/>
                <a:cs typeface="+mj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35738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7</TotalTime>
  <Words>8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23</cp:revision>
  <dcterms:created xsi:type="dcterms:W3CDTF">2021-03-31T02:49:57Z</dcterms:created>
  <dcterms:modified xsi:type="dcterms:W3CDTF">2025-10-16T10:59:16Z</dcterms:modified>
  <cp:category/>
</cp:coreProperties>
</file>